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52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3</c:v>
                </c:pt>
                <c:pt idx="17">
                  <c:v>664</c:v>
                </c:pt>
                <c:pt idx="18">
                  <c:v>733</c:v>
                </c:pt>
                <c:pt idx="19">
                  <c:v>795</c:v>
                </c:pt>
                <c:pt idx="20">
                  <c:v>851</c:v>
                </c:pt>
                <c:pt idx="21">
                  <c:v>923</c:v>
                </c:pt>
                <c:pt idx="22">
                  <c:v>930</c:v>
                </c:pt>
                <c:pt idx="23">
                  <c:v>993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1</c:v>
                </c:pt>
                <c:pt idx="31">
                  <c:v>2105</c:v>
                </c:pt>
                <c:pt idx="32">
                  <c:v>2295</c:v>
                </c:pt>
                <c:pt idx="33">
                  <c:v>2495</c:v>
                </c:pt>
                <c:pt idx="34">
                  <c:v>2660</c:v>
                </c:pt>
                <c:pt idx="35">
                  <c:v>2803</c:v>
                </c:pt>
                <c:pt idx="36">
                  <c:v>2802</c:v>
                </c:pt>
                <c:pt idx="37">
                  <c:v>2952</c:v>
                </c:pt>
                <c:pt idx="38">
                  <c:v>3413</c:v>
                </c:pt>
                <c:pt idx="39">
                  <c:v>3611</c:v>
                </c:pt>
                <c:pt idx="40">
                  <c:v>3756</c:v>
                </c:pt>
                <c:pt idx="41">
                  <c:v>3886</c:v>
                </c:pt>
                <c:pt idx="42">
                  <c:v>4050</c:v>
                </c:pt>
                <c:pt idx="43">
                  <c:v>3989</c:v>
                </c:pt>
                <c:pt idx="44">
                  <c:v>4131</c:v>
                </c:pt>
                <c:pt idx="45">
                  <c:v>4789</c:v>
                </c:pt>
                <c:pt idx="46">
                  <c:v>4864</c:v>
                </c:pt>
                <c:pt idx="47">
                  <c:v>4822</c:v>
                </c:pt>
                <c:pt idx="48">
                  <c:v>5188</c:v>
                </c:pt>
                <c:pt idx="49">
                  <c:v>5316</c:v>
                </c:pt>
                <c:pt idx="50">
                  <c:v>5206</c:v>
                </c:pt>
                <c:pt idx="51">
                  <c:v>5421</c:v>
                </c:pt>
                <c:pt idx="52">
                  <c:v>6017</c:v>
                </c:pt>
                <c:pt idx="53">
                  <c:v>6127</c:v>
                </c:pt>
                <c:pt idx="54">
                  <c:v>6219</c:v>
                </c:pt>
                <c:pt idx="55">
                  <c:v>6332</c:v>
                </c:pt>
                <c:pt idx="56">
                  <c:v>6432</c:v>
                </c:pt>
                <c:pt idx="57">
                  <c:v>6214</c:v>
                </c:pt>
                <c:pt idx="58">
                  <c:v>6415</c:v>
                </c:pt>
                <c:pt idx="59">
                  <c:v>7086</c:v>
                </c:pt>
                <c:pt idx="60">
                  <c:v>7024</c:v>
                </c:pt>
                <c:pt idx="61">
                  <c:v>6972</c:v>
                </c:pt>
                <c:pt idx="62">
                  <c:v>7065</c:v>
                </c:pt>
                <c:pt idx="63">
                  <c:v>7034</c:v>
                </c:pt>
                <c:pt idx="64">
                  <c:v>6566</c:v>
                </c:pt>
                <c:pt idx="65">
                  <c:v>6672</c:v>
                </c:pt>
                <c:pt idx="66">
                  <c:v>7129</c:v>
                </c:pt>
                <c:pt idx="67">
                  <c:v>6911</c:v>
                </c:pt>
                <c:pt idx="68">
                  <c:v>6745</c:v>
                </c:pt>
                <c:pt idx="69">
                  <c:v>6555</c:v>
                </c:pt>
                <c:pt idx="70">
                  <c:v>6346</c:v>
                </c:pt>
                <c:pt idx="71">
                  <c:v>5794</c:v>
                </c:pt>
                <c:pt idx="72">
                  <c:v>5806</c:v>
                </c:pt>
                <c:pt idx="73">
                  <c:v>6297</c:v>
                </c:pt>
                <c:pt idx="74">
                  <c:v>6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1</c:v>
                </c:pt>
                <c:pt idx="11">
                  <c:v>13</c:v>
                </c:pt>
                <c:pt idx="12">
                  <c:v>11</c:v>
                </c:pt>
                <c:pt idx="13">
                  <c:v>10</c:v>
                </c:pt>
                <c:pt idx="14">
                  <c:v>15</c:v>
                </c:pt>
                <c:pt idx="15">
                  <c:v>17</c:v>
                </c:pt>
                <c:pt idx="16">
                  <c:v>19</c:v>
                </c:pt>
                <c:pt idx="17">
                  <c:v>26</c:v>
                </c:pt>
                <c:pt idx="18">
                  <c:v>30</c:v>
                </c:pt>
                <c:pt idx="19">
                  <c:v>33</c:v>
                </c:pt>
                <c:pt idx="20">
                  <c:v>41</c:v>
                </c:pt>
                <c:pt idx="21">
                  <c:v>46</c:v>
                </c:pt>
                <c:pt idx="22">
                  <c:v>43</c:v>
                </c:pt>
                <c:pt idx="23">
                  <c:v>45</c:v>
                </c:pt>
                <c:pt idx="24">
                  <c:v>75</c:v>
                </c:pt>
                <c:pt idx="25">
                  <c:v>57</c:v>
                </c:pt>
                <c:pt idx="26">
                  <c:v>57</c:v>
                </c:pt>
                <c:pt idx="27">
                  <c:v>59</c:v>
                </c:pt>
                <c:pt idx="28">
                  <c:v>72</c:v>
                </c:pt>
                <c:pt idx="29">
                  <c:v>66</c:v>
                </c:pt>
                <c:pt idx="30">
                  <c:v>70</c:v>
                </c:pt>
                <c:pt idx="31">
                  <c:v>86</c:v>
                </c:pt>
                <c:pt idx="32">
                  <c:v>77</c:v>
                </c:pt>
                <c:pt idx="33">
                  <c:v>88</c:v>
                </c:pt>
                <c:pt idx="34">
                  <c:v>94</c:v>
                </c:pt>
                <c:pt idx="35">
                  <c:v>106</c:v>
                </c:pt>
                <c:pt idx="36">
                  <c:v>104</c:v>
                </c:pt>
                <c:pt idx="37">
                  <c:v>108</c:v>
                </c:pt>
                <c:pt idx="38">
                  <c:v>134</c:v>
                </c:pt>
                <c:pt idx="39">
                  <c:v>147</c:v>
                </c:pt>
                <c:pt idx="40">
                  <c:v>163</c:v>
                </c:pt>
                <c:pt idx="41">
                  <c:v>170</c:v>
                </c:pt>
                <c:pt idx="42">
                  <c:v>184</c:v>
                </c:pt>
                <c:pt idx="43">
                  <c:v>181</c:v>
                </c:pt>
                <c:pt idx="44">
                  <c:v>187</c:v>
                </c:pt>
                <c:pt idx="45">
                  <c:v>217</c:v>
                </c:pt>
                <c:pt idx="46">
                  <c:v>220</c:v>
                </c:pt>
                <c:pt idx="47">
                  <c:v>206</c:v>
                </c:pt>
                <c:pt idx="48">
                  <c:v>228</c:v>
                </c:pt>
                <c:pt idx="49">
                  <c:v>265</c:v>
                </c:pt>
                <c:pt idx="50">
                  <c:v>256</c:v>
                </c:pt>
                <c:pt idx="51">
                  <c:v>261</c:v>
                </c:pt>
                <c:pt idx="52">
                  <c:v>303</c:v>
                </c:pt>
                <c:pt idx="53">
                  <c:v>313</c:v>
                </c:pt>
                <c:pt idx="54">
                  <c:v>344</c:v>
                </c:pt>
                <c:pt idx="55">
                  <c:v>355</c:v>
                </c:pt>
                <c:pt idx="56">
                  <c:v>389</c:v>
                </c:pt>
                <c:pt idx="57">
                  <c:v>370</c:v>
                </c:pt>
                <c:pt idx="58">
                  <c:v>389</c:v>
                </c:pt>
                <c:pt idx="59">
                  <c:v>429</c:v>
                </c:pt>
                <c:pt idx="60">
                  <c:v>415</c:v>
                </c:pt>
                <c:pt idx="61">
                  <c:v>406</c:v>
                </c:pt>
                <c:pt idx="62">
                  <c:v>417</c:v>
                </c:pt>
                <c:pt idx="63">
                  <c:v>393</c:v>
                </c:pt>
                <c:pt idx="64">
                  <c:v>375</c:v>
                </c:pt>
                <c:pt idx="65">
                  <c:v>386</c:v>
                </c:pt>
                <c:pt idx="66">
                  <c:v>412</c:v>
                </c:pt>
                <c:pt idx="67">
                  <c:v>393</c:v>
                </c:pt>
                <c:pt idx="68">
                  <c:v>368</c:v>
                </c:pt>
                <c:pt idx="69">
                  <c:v>348</c:v>
                </c:pt>
                <c:pt idx="70">
                  <c:v>328</c:v>
                </c:pt>
                <c:pt idx="71">
                  <c:v>297</c:v>
                </c:pt>
                <c:pt idx="72">
                  <c:v>298</c:v>
                </c:pt>
                <c:pt idx="73">
                  <c:v>315</c:v>
                </c:pt>
                <c:pt idx="74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01.99178528684791</c:v>
                </c:pt>
                <c:pt idx="43">
                  <c:v>208.47381928281376</c:v>
                </c:pt>
                <c:pt idx="44">
                  <c:v>214.93969331548459</c:v>
                </c:pt>
                <c:pt idx="45">
                  <c:v>221.13591700028883</c:v>
                </c:pt>
                <c:pt idx="46">
                  <c:v>226.82168248490461</c:v>
                </c:pt>
                <c:pt idx="47">
                  <c:v>232.11688608311965</c:v>
                </c:pt>
                <c:pt idx="48">
                  <c:v>237.25701799724095</c:v>
                </c:pt>
                <c:pt idx="49">
                  <c:v>242.3403993213563</c:v>
                </c:pt>
                <c:pt idx="50">
                  <c:v>247.33384522307708</c:v>
                </c:pt>
                <c:pt idx="51">
                  <c:v>252.50674467277753</c:v>
                </c:pt>
                <c:pt idx="52">
                  <c:v>257.51778129595141</c:v>
                </c:pt>
                <c:pt idx="53">
                  <c:v>261.76855836206948</c:v>
                </c:pt>
                <c:pt idx="54">
                  <c:v>265.62035897131113</c:v>
                </c:pt>
                <c:pt idx="55">
                  <c:v>269.32740784238138</c:v>
                </c:pt>
                <c:pt idx="56">
                  <c:v>272.97319275650682</c:v>
                </c:pt>
                <c:pt idx="57">
                  <c:v>276.59715642208056</c:v>
                </c:pt>
                <c:pt idx="58">
                  <c:v>280.16667896614297</c:v>
                </c:pt>
                <c:pt idx="59">
                  <c:v>283.63943215260275</c:v>
                </c:pt>
                <c:pt idx="60">
                  <c:v>286.84035119912096</c:v>
                </c:pt>
                <c:pt idx="61">
                  <c:v>289.79605434187431</c:v>
                </c:pt>
                <c:pt idx="62">
                  <c:v>292.5453536794796</c:v>
                </c:pt>
                <c:pt idx="63">
                  <c:v>295.10734593058277</c:v>
                </c:pt>
                <c:pt idx="64">
                  <c:v>297.45465984580977</c:v>
                </c:pt>
                <c:pt idx="65">
                  <c:v>299.63448712240364</c:v>
                </c:pt>
                <c:pt idx="66">
                  <c:v>301.60862568392207</c:v>
                </c:pt>
                <c:pt idx="67">
                  <c:v>303.38795069847993</c:v>
                </c:pt>
                <c:pt idx="68">
                  <c:v>304.89860000538084</c:v>
                </c:pt>
                <c:pt idx="69">
                  <c:v>306.17514447183498</c:v>
                </c:pt>
                <c:pt idx="70">
                  <c:v>307.24305259071616</c:v>
                </c:pt>
                <c:pt idx="71">
                  <c:v>307.99777122433454</c:v>
                </c:pt>
                <c:pt idx="72">
                  <c:v>308.5122393490912</c:v>
                </c:pt>
                <c:pt idx="73">
                  <c:v>308.79675389182063</c:v>
                </c:pt>
                <c:pt idx="74">
                  <c:v>308.80796096659299</c:v>
                </c:pt>
                <c:pt idx="75">
                  <c:v>308.55954558662722</c:v>
                </c:pt>
                <c:pt idx="76">
                  <c:v>308.06098905542024</c:v>
                </c:pt>
                <c:pt idx="77">
                  <c:v>307.33109497794732</c:v>
                </c:pt>
                <c:pt idx="78">
                  <c:v>306.29975759943653</c:v>
                </c:pt>
                <c:pt idx="79">
                  <c:v>305.02939472447338</c:v>
                </c:pt>
                <c:pt idx="80">
                  <c:v>303.52299919760389</c:v>
                </c:pt>
                <c:pt idx="81">
                  <c:v>301.74587619734803</c:v>
                </c:pt>
                <c:pt idx="82">
                  <c:v>299.70294273609687</c:v>
                </c:pt>
                <c:pt idx="83">
                  <c:v>297.45758627298244</c:v>
                </c:pt>
                <c:pt idx="84">
                  <c:v>294.98684990605182</c:v>
                </c:pt>
                <c:pt idx="85">
                  <c:v>292.24470595041907</c:v>
                </c:pt>
                <c:pt idx="86">
                  <c:v>289.33990793792282</c:v>
                </c:pt>
                <c:pt idx="87">
                  <c:v>286.24980974410289</c:v>
                </c:pt>
                <c:pt idx="88">
                  <c:v>282.87039733524176</c:v>
                </c:pt>
                <c:pt idx="89">
                  <c:v>279.34128699565161</c:v>
                </c:pt>
                <c:pt idx="90">
                  <c:v>275.66494396313101</c:v>
                </c:pt>
                <c:pt idx="91">
                  <c:v>271.81484545604019</c:v>
                </c:pt>
                <c:pt idx="92">
                  <c:v>267.73794785196662</c:v>
                </c:pt>
                <c:pt idx="93">
                  <c:v>263.50962286723495</c:v>
                </c:pt>
                <c:pt idx="94">
                  <c:v>259.1627355668025</c:v>
                </c:pt>
                <c:pt idx="95">
                  <c:v>254.68089817557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02.45212579648009</c:v>
                </c:pt>
                <c:pt idx="43">
                  <c:v>209.55954215855613</c:v>
                </c:pt>
                <c:pt idx="44">
                  <c:v>216.8280963134747</c:v>
                </c:pt>
                <c:pt idx="45">
                  <c:v>224.0094485752208</c:v>
                </c:pt>
                <c:pt idx="46">
                  <c:v>230.87183709847747</c:v>
                </c:pt>
                <c:pt idx="47">
                  <c:v>237.53497911422798</c:v>
                </c:pt>
                <c:pt idx="48">
                  <c:v>244.23730093759718</c:v>
                </c:pt>
                <c:pt idx="49">
                  <c:v>251.07278668824179</c:v>
                </c:pt>
                <c:pt idx="50">
                  <c:v>258.00772782714785</c:v>
                </c:pt>
                <c:pt idx="51">
                  <c:v>265.30577364122666</c:v>
                </c:pt>
                <c:pt idx="52">
                  <c:v>272.62263961520239</c:v>
                </c:pt>
                <c:pt idx="53">
                  <c:v>279.3528093953538</c:v>
                </c:pt>
                <c:pt idx="54">
                  <c:v>285.85163723754204</c:v>
                </c:pt>
                <c:pt idx="55">
                  <c:v>292.3637480302101</c:v>
                </c:pt>
                <c:pt idx="56">
                  <c:v>298.95854797579466</c:v>
                </c:pt>
                <c:pt idx="57">
                  <c:v>305.64886867624085</c:v>
                </c:pt>
                <c:pt idx="58">
                  <c:v>312.39373107752436</c:v>
                </c:pt>
                <c:pt idx="59">
                  <c:v>319.13803924505305</c:v>
                </c:pt>
                <c:pt idx="60">
                  <c:v>325.6981093745664</c:v>
                </c:pt>
                <c:pt idx="61">
                  <c:v>332.08310543522651</c:v>
                </c:pt>
                <c:pt idx="62">
                  <c:v>338.31897799951929</c:v>
                </c:pt>
                <c:pt idx="63">
                  <c:v>344.40915630038972</c:v>
                </c:pt>
                <c:pt idx="64">
                  <c:v>350.30797111097513</c:v>
                </c:pt>
                <c:pt idx="65">
                  <c:v>356.04620224054844</c:v>
                </c:pt>
                <c:pt idx="66">
                  <c:v>361.57234238595584</c:v>
                </c:pt>
                <c:pt idx="67">
                  <c:v>366.8817651581827</c:v>
                </c:pt>
                <c:pt idx="68">
                  <c:v>371.8867600264573</c:v>
                </c:pt>
                <c:pt idx="69">
                  <c:v>376.60749709854042</c:v>
                </c:pt>
                <c:pt idx="70">
                  <c:v>381.0544369956632</c:v>
                </c:pt>
                <c:pt idx="71">
                  <c:v>385.10874722865185</c:v>
                </c:pt>
                <c:pt idx="72">
                  <c:v>388.82857671656018</c:v>
                </c:pt>
                <c:pt idx="73">
                  <c:v>392.21150126621495</c:v>
                </c:pt>
                <c:pt idx="74">
                  <c:v>395.20183639742038</c:v>
                </c:pt>
                <c:pt idx="75">
                  <c:v>397.80136923834436</c:v>
                </c:pt>
                <c:pt idx="76">
                  <c:v>400.00842139739251</c:v>
                </c:pt>
                <c:pt idx="77">
                  <c:v>401.83226165998519</c:v>
                </c:pt>
                <c:pt idx="78">
                  <c:v>403.19324822536385</c:v>
                </c:pt>
                <c:pt idx="79">
                  <c:v>404.14586373969462</c:v>
                </c:pt>
                <c:pt idx="80">
                  <c:v>404.68589199835418</c:v>
                </c:pt>
                <c:pt idx="81">
                  <c:v>404.77243701012731</c:v>
                </c:pt>
                <c:pt idx="82">
                  <c:v>404.4048622743029</c:v>
                </c:pt>
                <c:pt idx="83">
                  <c:v>403.64268464930734</c:v>
                </c:pt>
                <c:pt idx="84">
                  <c:v>402.45989008295658</c:v>
                </c:pt>
                <c:pt idx="85">
                  <c:v>400.80845165172627</c:v>
                </c:pt>
                <c:pt idx="86">
                  <c:v>398.79616953067494</c:v>
                </c:pt>
                <c:pt idx="87">
                  <c:v>396.40044945919516</c:v>
                </c:pt>
                <c:pt idx="88">
                  <c:v>393.51791467118909</c:v>
                </c:pt>
                <c:pt idx="89">
                  <c:v>390.29039360441794</c:v>
                </c:pt>
                <c:pt idx="90">
                  <c:v>386.72282618800324</c:v>
                </c:pt>
                <c:pt idx="91">
                  <c:v>382.79226448369133</c:v>
                </c:pt>
                <c:pt idx="92">
                  <c:v>378.44483311094893</c:v>
                </c:pt>
                <c:pt idx="93">
                  <c:v>373.76451644529226</c:v>
                </c:pt>
                <c:pt idx="94">
                  <c:v>368.78987688675375</c:v>
                </c:pt>
                <c:pt idx="95">
                  <c:v>363.51085944019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02.91540249675521</c:v>
                </c:pt>
                <c:pt idx="43">
                  <c:v>210.65573892185469</c:v>
                </c:pt>
                <c:pt idx="44">
                  <c:v>218.74205323113631</c:v>
                </c:pt>
                <c:pt idx="45">
                  <c:v>226.93453644873136</c:v>
                </c:pt>
                <c:pt idx="46">
                  <c:v>235.01421615609993</c:v>
                </c:pt>
                <c:pt idx="47">
                  <c:v>243.10460082031935</c:v>
                </c:pt>
                <c:pt idx="48">
                  <c:v>251.45120574523466</c:v>
                </c:pt>
                <c:pt idx="49">
                  <c:v>260.14788657680401</c:v>
                </c:pt>
                <c:pt idx="50">
                  <c:v>269.16460569157528</c:v>
                </c:pt>
                <c:pt idx="51">
                  <c:v>278.76334253512408</c:v>
                </c:pt>
                <c:pt idx="52">
                  <c:v>288.60072179933792</c:v>
                </c:pt>
                <c:pt idx="53">
                  <c:v>298.0676606400985</c:v>
                </c:pt>
                <c:pt idx="54">
                  <c:v>307.51675493294704</c:v>
                </c:pt>
                <c:pt idx="55">
                  <c:v>317.18571878224373</c:v>
                </c:pt>
                <c:pt idx="56">
                  <c:v>327.13202573471841</c:v>
                </c:pt>
                <c:pt idx="57">
                  <c:v>337.3433257993442</c:v>
                </c:pt>
                <c:pt idx="58">
                  <c:v>347.77106624659206</c:v>
                </c:pt>
                <c:pt idx="59">
                  <c:v>358.34742267622198</c:v>
                </c:pt>
                <c:pt idx="60">
                  <c:v>368.87932932840391</c:v>
                </c:pt>
                <c:pt idx="61">
                  <c:v>379.35686674236513</c:v>
                </c:pt>
                <c:pt idx="62">
                  <c:v>389.79064623300917</c:v>
                </c:pt>
                <c:pt idx="63">
                  <c:v>400.16510441711591</c:v>
                </c:pt>
                <c:pt idx="64">
                  <c:v>410.41210207540041</c:v>
                </c:pt>
                <c:pt idx="65">
                  <c:v>420.54111433081749</c:v>
                </c:pt>
                <c:pt idx="66">
                  <c:v>430.48176434743192</c:v>
                </c:pt>
                <c:pt idx="67">
                  <c:v>440.20760758898518</c:v>
                </c:pt>
                <c:pt idx="68">
                  <c:v>449.61012358434374</c:v>
                </c:pt>
                <c:pt idx="69">
                  <c:v>458.68755463867552</c:v>
                </c:pt>
                <c:pt idx="70">
                  <c:v>467.42736522874395</c:v>
                </c:pt>
                <c:pt idx="71">
                  <c:v>475.68809671349123</c:v>
                </c:pt>
                <c:pt idx="72">
                  <c:v>483.50454684967281</c:v>
                </c:pt>
                <c:pt idx="73">
                  <c:v>490.8529050915821</c:v>
                </c:pt>
                <c:pt idx="74">
                  <c:v>497.65647487439776</c:v>
                </c:pt>
                <c:pt idx="75">
                  <c:v>503.89656306265158</c:v>
                </c:pt>
                <c:pt idx="76">
                  <c:v>509.55196866402241</c:v>
                </c:pt>
                <c:pt idx="77">
                  <c:v>514.6144020038912</c:v>
                </c:pt>
                <c:pt idx="78">
                  <c:v>518.98710915473634</c:v>
                </c:pt>
                <c:pt idx="79">
                  <c:v>522.70961600549663</c:v>
                </c:pt>
                <c:pt idx="80">
                  <c:v>525.7641166842277</c:v>
                </c:pt>
                <c:pt idx="81">
                  <c:v>528.09785729465307</c:v>
                </c:pt>
                <c:pt idx="82">
                  <c:v>529.6997881380704</c:v>
                </c:pt>
                <c:pt idx="83">
                  <c:v>530.62155673502059</c:v>
                </c:pt>
                <c:pt idx="84">
                  <c:v>530.83099900227148</c:v>
                </c:pt>
                <c:pt idx="85">
                  <c:v>530.27593297063038</c:v>
                </c:pt>
                <c:pt idx="86">
                  <c:v>529.06200333087486</c:v>
                </c:pt>
                <c:pt idx="87">
                  <c:v>527.16641941970295</c:v>
                </c:pt>
                <c:pt idx="88">
                  <c:v>524.4871338645687</c:v>
                </c:pt>
                <c:pt idx="89">
                  <c:v>521.16980010448117</c:v>
                </c:pt>
                <c:pt idx="90">
                  <c:v>517.22432665122085</c:v>
                </c:pt>
                <c:pt idx="91">
                  <c:v>512.63466975493486</c:v>
                </c:pt>
                <c:pt idx="92">
                  <c:v>507.35019616329464</c:v>
                </c:pt>
                <c:pt idx="93">
                  <c:v>501.46829909867711</c:v>
                </c:pt>
                <c:pt idx="94">
                  <c:v>495.0386550725492</c:v>
                </c:pt>
                <c:pt idx="95">
                  <c:v>488.063507724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4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9</c:v>
                </c:pt>
                <c:pt idx="17">
                  <c:v>11</c:v>
                </c:pt>
                <c:pt idx="18">
                  <c:v>13</c:v>
                </c:pt>
                <c:pt idx="19">
                  <c:v>16</c:v>
                </c:pt>
                <c:pt idx="20">
                  <c:v>22</c:v>
                </c:pt>
                <c:pt idx="21">
                  <c:v>31</c:v>
                </c:pt>
                <c:pt idx="22">
                  <c:v>31</c:v>
                </c:pt>
                <c:pt idx="23">
                  <c:v>32</c:v>
                </c:pt>
                <c:pt idx="24">
                  <c:v>39</c:v>
                </c:pt>
                <c:pt idx="25">
                  <c:v>47</c:v>
                </c:pt>
                <c:pt idx="26">
                  <c:v>49</c:v>
                </c:pt>
                <c:pt idx="27">
                  <c:v>59</c:v>
                </c:pt>
                <c:pt idx="28">
                  <c:v>79</c:v>
                </c:pt>
                <c:pt idx="29">
                  <c:v>75</c:v>
                </c:pt>
                <c:pt idx="30">
                  <c:v>75</c:v>
                </c:pt>
                <c:pt idx="31">
                  <c:v>87</c:v>
                </c:pt>
                <c:pt idx="32">
                  <c:v>84</c:v>
                </c:pt>
                <c:pt idx="33">
                  <c:v>98</c:v>
                </c:pt>
                <c:pt idx="34">
                  <c:v>101</c:v>
                </c:pt>
                <c:pt idx="35">
                  <c:v>113</c:v>
                </c:pt>
                <c:pt idx="36">
                  <c:v>112</c:v>
                </c:pt>
                <c:pt idx="37">
                  <c:v>119</c:v>
                </c:pt>
                <c:pt idx="38">
                  <c:v>139</c:v>
                </c:pt>
                <c:pt idx="39">
                  <c:v>143</c:v>
                </c:pt>
                <c:pt idx="40">
                  <c:v>154</c:v>
                </c:pt>
                <c:pt idx="41">
                  <c:v>162</c:v>
                </c:pt>
                <c:pt idx="42">
                  <c:v>168</c:v>
                </c:pt>
                <c:pt idx="43">
                  <c:v>182</c:v>
                </c:pt>
                <c:pt idx="44">
                  <c:v>189</c:v>
                </c:pt>
                <c:pt idx="45">
                  <c:v>208</c:v>
                </c:pt>
                <c:pt idx="46">
                  <c:v>203</c:v>
                </c:pt>
                <c:pt idx="47">
                  <c:v>192</c:v>
                </c:pt>
                <c:pt idx="48">
                  <c:v>204</c:v>
                </c:pt>
                <c:pt idx="49">
                  <c:v>216</c:v>
                </c:pt>
                <c:pt idx="50">
                  <c:v>206</c:v>
                </c:pt>
                <c:pt idx="51">
                  <c:v>209</c:v>
                </c:pt>
                <c:pt idx="52">
                  <c:v>250</c:v>
                </c:pt>
                <c:pt idx="53">
                  <c:v>239</c:v>
                </c:pt>
                <c:pt idx="54">
                  <c:v>243</c:v>
                </c:pt>
                <c:pt idx="55">
                  <c:v>251</c:v>
                </c:pt>
                <c:pt idx="56">
                  <c:v>264</c:v>
                </c:pt>
                <c:pt idx="57">
                  <c:v>255</c:v>
                </c:pt>
                <c:pt idx="58">
                  <c:v>250</c:v>
                </c:pt>
                <c:pt idx="59">
                  <c:v>268</c:v>
                </c:pt>
                <c:pt idx="60">
                  <c:v>264</c:v>
                </c:pt>
                <c:pt idx="61">
                  <c:v>260</c:v>
                </c:pt>
                <c:pt idx="62">
                  <c:v>259</c:v>
                </c:pt>
                <c:pt idx="63">
                  <c:v>281</c:v>
                </c:pt>
                <c:pt idx="64">
                  <c:v>242</c:v>
                </c:pt>
                <c:pt idx="65">
                  <c:v>243</c:v>
                </c:pt>
                <c:pt idx="66">
                  <c:v>281</c:v>
                </c:pt>
                <c:pt idx="67">
                  <c:v>249</c:v>
                </c:pt>
                <c:pt idx="68">
                  <c:v>253</c:v>
                </c:pt>
                <c:pt idx="69">
                  <c:v>243</c:v>
                </c:pt>
                <c:pt idx="70">
                  <c:v>257</c:v>
                </c:pt>
                <c:pt idx="71">
                  <c:v>244</c:v>
                </c:pt>
                <c:pt idx="72">
                  <c:v>248</c:v>
                </c:pt>
                <c:pt idx="73">
                  <c:v>272</c:v>
                </c:pt>
                <c:pt idx="74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39.53015388035803</c:v>
                </c:pt>
                <c:pt idx="43">
                  <c:v>144.22860851833678</c:v>
                </c:pt>
                <c:pt idx="44">
                  <c:v>148.91179384043676</c:v>
                </c:pt>
                <c:pt idx="45">
                  <c:v>153.41736565570193</c:v>
                </c:pt>
                <c:pt idx="46">
                  <c:v>157.59761092209905</c:v>
                </c:pt>
                <c:pt idx="47">
                  <c:v>161.51280408194043</c:v>
                </c:pt>
                <c:pt idx="48">
                  <c:v>165.29458464175292</c:v>
                </c:pt>
                <c:pt idx="49">
                  <c:v>169.01404802204388</c:v>
                </c:pt>
                <c:pt idx="50">
                  <c:v>172.65805780279538</c:v>
                </c:pt>
                <c:pt idx="51">
                  <c:v>176.39941945475323</c:v>
                </c:pt>
                <c:pt idx="52">
                  <c:v>180.00495276722694</c:v>
                </c:pt>
                <c:pt idx="53">
                  <c:v>183.08531007667523</c:v>
                </c:pt>
                <c:pt idx="54">
                  <c:v>185.8937074711117</c:v>
                </c:pt>
                <c:pt idx="55">
                  <c:v>188.5815435374376</c:v>
                </c:pt>
                <c:pt idx="56">
                  <c:v>191.20623185858625</c:v>
                </c:pt>
                <c:pt idx="57">
                  <c:v>193.78445957905475</c:v>
                </c:pt>
                <c:pt idx="58">
                  <c:v>196.31356512883914</c:v>
                </c:pt>
                <c:pt idx="59">
                  <c:v>198.76275425344804</c:v>
                </c:pt>
                <c:pt idx="60">
                  <c:v>201.00047743424761</c:v>
                </c:pt>
                <c:pt idx="61">
                  <c:v>203.0646538072437</c:v>
                </c:pt>
                <c:pt idx="62">
                  <c:v>204.97439758113413</c:v>
                </c:pt>
                <c:pt idx="63">
                  <c:v>206.74452763652124</c:v>
                </c:pt>
                <c:pt idx="64">
                  <c:v>208.35885241851861</c:v>
                </c:pt>
                <c:pt idx="65">
                  <c:v>209.84957875092749</c:v>
                </c:pt>
                <c:pt idx="66">
                  <c:v>211.19132047119086</c:v>
                </c:pt>
                <c:pt idx="67">
                  <c:v>212.38700330930499</c:v>
                </c:pt>
                <c:pt idx="68">
                  <c:v>213.39258664230249</c:v>
                </c:pt>
                <c:pt idx="69">
                  <c:v>214.22588392261514</c:v>
                </c:pt>
                <c:pt idx="70">
                  <c:v>214.91239008546816</c:v>
                </c:pt>
                <c:pt idx="71">
                  <c:v>215.37961121709515</c:v>
                </c:pt>
                <c:pt idx="72">
                  <c:v>215.67963722823896</c:v>
                </c:pt>
                <c:pt idx="73">
                  <c:v>215.81651189473331</c:v>
                </c:pt>
                <c:pt idx="74">
                  <c:v>215.75504081387035</c:v>
                </c:pt>
                <c:pt idx="75">
                  <c:v>215.51089003551445</c:v>
                </c:pt>
                <c:pt idx="76">
                  <c:v>215.08716827486586</c:v>
                </c:pt>
                <c:pt idx="77">
                  <c:v>214.50460991879396</c:v>
                </c:pt>
                <c:pt idx="78">
                  <c:v>213.70986369643197</c:v>
                </c:pt>
                <c:pt idx="79">
                  <c:v>212.75230287878384</c:v>
                </c:pt>
                <c:pt idx="80">
                  <c:v>211.62763332608091</c:v>
                </c:pt>
                <c:pt idx="81">
                  <c:v>210.30451242362494</c:v>
                </c:pt>
                <c:pt idx="82">
                  <c:v>208.79803061725494</c:v>
                </c:pt>
                <c:pt idx="83">
                  <c:v>207.14948005935102</c:v>
                </c:pt>
                <c:pt idx="84">
                  <c:v>205.34419412070531</c:v>
                </c:pt>
                <c:pt idx="85">
                  <c:v>203.35428568483582</c:v>
                </c:pt>
                <c:pt idx="86">
                  <c:v>201.25645291995167</c:v>
                </c:pt>
                <c:pt idx="87">
                  <c:v>199.03171333636064</c:v>
                </c:pt>
                <c:pt idx="88">
                  <c:v>196.59071890141098</c:v>
                </c:pt>
                <c:pt idx="89">
                  <c:v>194.04832302266763</c:v>
                </c:pt>
                <c:pt idx="90">
                  <c:v>191.40510437707886</c:v>
                </c:pt>
                <c:pt idx="91">
                  <c:v>188.64093494102326</c:v>
                </c:pt>
                <c:pt idx="92">
                  <c:v>185.7218076456125</c:v>
                </c:pt>
                <c:pt idx="93">
                  <c:v>182.69815263516284</c:v>
                </c:pt>
                <c:pt idx="94">
                  <c:v>179.59095693857446</c:v>
                </c:pt>
                <c:pt idx="95">
                  <c:v>176.39057642468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39.8640960882293</c:v>
                </c:pt>
                <c:pt idx="43">
                  <c:v>145.01640382679363</c:v>
                </c:pt>
                <c:pt idx="44">
                  <c:v>150.28116192212542</c:v>
                </c:pt>
                <c:pt idx="45">
                  <c:v>155.49882699737776</c:v>
                </c:pt>
                <c:pt idx="46">
                  <c:v>160.52830758028196</c:v>
                </c:pt>
                <c:pt idx="47">
                  <c:v>165.42890434363642</c:v>
                </c:pt>
                <c:pt idx="48">
                  <c:v>170.33388074821681</c:v>
                </c:pt>
                <c:pt idx="49">
                  <c:v>175.3108169191367</c:v>
                </c:pt>
                <c:pt idx="50">
                  <c:v>180.34570517660848</c:v>
                </c:pt>
                <c:pt idx="51">
                  <c:v>185.60674106449284</c:v>
                </c:pt>
                <c:pt idx="52">
                  <c:v>190.85788231289138</c:v>
                </c:pt>
                <c:pt idx="53">
                  <c:v>195.70455682559009</c:v>
                </c:pt>
                <c:pt idx="54">
                  <c:v>200.39570310447209</c:v>
                </c:pt>
                <c:pt idx="55">
                  <c:v>205.07498759334791</c:v>
                </c:pt>
                <c:pt idx="56">
                  <c:v>209.78931683640653</c:v>
                </c:pt>
                <c:pt idx="57">
                  <c:v>214.5368351724502</c:v>
                </c:pt>
                <c:pt idx="58">
                  <c:v>219.30879688090315</c:v>
                </c:pt>
                <c:pt idx="59">
                  <c:v>224.06523688587646</c:v>
                </c:pt>
                <c:pt idx="60">
                  <c:v>228.66822630628326</c:v>
                </c:pt>
                <c:pt idx="61">
                  <c:v>233.14337116998351</c:v>
                </c:pt>
                <c:pt idx="62">
                  <c:v>237.5005643745377</c:v>
                </c:pt>
                <c:pt idx="63">
                  <c:v>241.74398165480258</c:v>
                </c:pt>
                <c:pt idx="64">
                  <c:v>245.84404163093245</c:v>
                </c:pt>
                <c:pt idx="65">
                  <c:v>249.82172448924999</c:v>
                </c:pt>
                <c:pt idx="66">
                  <c:v>253.64233265733469</c:v>
                </c:pt>
                <c:pt idx="67">
                  <c:v>257.29802362139816</c:v>
                </c:pt>
                <c:pt idx="68">
                  <c:v>260.73515850837327</c:v>
                </c:pt>
                <c:pt idx="69">
                  <c:v>263.96153234687119</c:v>
                </c:pt>
                <c:pt idx="70">
                  <c:v>266.99228813677701</c:v>
                </c:pt>
                <c:pt idx="71">
                  <c:v>269.74499291617587</c:v>
                </c:pt>
                <c:pt idx="72">
                  <c:v>272.26158998490939</c:v>
                </c:pt>
                <c:pt idx="73">
                  <c:v>274.53715802055291</c:v>
                </c:pt>
                <c:pt idx="74">
                  <c:v>276.52822759279263</c:v>
                </c:pt>
                <c:pt idx="75">
                  <c:v>278.24235108390303</c:v>
                </c:pt>
                <c:pt idx="76">
                  <c:v>279.67505657522662</c:v>
                </c:pt>
                <c:pt idx="77">
                  <c:v>280.84058782675413</c:v>
                </c:pt>
                <c:pt idx="78">
                  <c:v>281.67909227992834</c:v>
                </c:pt>
                <c:pt idx="79">
                  <c:v>282.23466994296558</c:v>
                </c:pt>
                <c:pt idx="80">
                  <c:v>282.49822981805607</c:v>
                </c:pt>
                <c:pt idx="81">
                  <c:v>282.43434410902103</c:v>
                </c:pt>
                <c:pt idx="82">
                  <c:v>282.05441355796188</c:v>
                </c:pt>
                <c:pt idx="83">
                  <c:v>281.39731775815494</c:v>
                </c:pt>
                <c:pt idx="84">
                  <c:v>280.44650652313112</c:v>
                </c:pt>
                <c:pt idx="85">
                  <c:v>279.1729469513719</c:v>
                </c:pt>
                <c:pt idx="86">
                  <c:v>277.65291919072251</c:v>
                </c:pt>
                <c:pt idx="87">
                  <c:v>275.86771980755236</c:v>
                </c:pt>
                <c:pt idx="88">
                  <c:v>273.72862043688343</c:v>
                </c:pt>
                <c:pt idx="89">
                  <c:v>271.35228511293155</c:v>
                </c:pt>
                <c:pt idx="90">
                  <c:v>268.74117459165353</c:v>
                </c:pt>
                <c:pt idx="91">
                  <c:v>265.87783731528748</c:v>
                </c:pt>
                <c:pt idx="92">
                  <c:v>262.72703196068335</c:v>
                </c:pt>
                <c:pt idx="93">
                  <c:v>259.34590319721053</c:v>
                </c:pt>
                <c:pt idx="94">
                  <c:v>255.75953513741277</c:v>
                </c:pt>
                <c:pt idx="95">
                  <c:v>251.96281111977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0.20015765429198</c:v>
                </c:pt>
                <c:pt idx="43">
                  <c:v>145.81177191452269</c:v>
                </c:pt>
                <c:pt idx="44">
                  <c:v>151.66901761309401</c:v>
                </c:pt>
                <c:pt idx="45">
                  <c:v>157.61758921679649</c:v>
                </c:pt>
                <c:pt idx="46">
                  <c:v>163.52570944914964</c:v>
                </c:pt>
                <c:pt idx="47">
                  <c:v>169.45454690224483</c:v>
                </c:pt>
                <c:pt idx="48">
                  <c:v>175.54194982365249</c:v>
                </c:pt>
                <c:pt idx="49">
                  <c:v>181.85497063044522</c:v>
                </c:pt>
                <c:pt idx="50">
                  <c:v>188.38169194660298</c:v>
                </c:pt>
                <c:pt idx="51">
                  <c:v>195.28855508812012</c:v>
                </c:pt>
                <c:pt idx="52">
                  <c:v>202.33935463924061</c:v>
                </c:pt>
                <c:pt idx="53">
                  <c:v>209.13674544953895</c:v>
                </c:pt>
                <c:pt idx="54">
                  <c:v>215.92755184773571</c:v>
                </c:pt>
                <c:pt idx="55">
                  <c:v>222.84951001760533</c:v>
                </c:pt>
                <c:pt idx="56">
                  <c:v>229.9404239216708</c:v>
                </c:pt>
                <c:pt idx="57">
                  <c:v>237.18077874562803</c:v>
                </c:pt>
                <c:pt idx="58">
                  <c:v>244.55616162953609</c:v>
                </c:pt>
                <c:pt idx="59">
                  <c:v>252.01731945764743</c:v>
                </c:pt>
                <c:pt idx="60">
                  <c:v>259.41925370567145</c:v>
                </c:pt>
                <c:pt idx="61">
                  <c:v>266.77395374449162</c:v>
                </c:pt>
                <c:pt idx="62">
                  <c:v>274.08018772692748</c:v>
                </c:pt>
                <c:pt idx="63">
                  <c:v>281.32899268577705</c:v>
                </c:pt>
                <c:pt idx="64">
                  <c:v>288.47430653476039</c:v>
                </c:pt>
                <c:pt idx="65">
                  <c:v>295.52229679076038</c:v>
                </c:pt>
                <c:pt idx="66">
                  <c:v>302.4249094633476</c:v>
                </c:pt>
                <c:pt idx="67">
                  <c:v>309.1589761232907</c:v>
                </c:pt>
                <c:pt idx="68">
                  <c:v>315.65626757312037</c:v>
                </c:pt>
                <c:pt idx="69">
                  <c:v>321.90919148290493</c:v>
                </c:pt>
                <c:pt idx="70">
                  <c:v>327.91686857689905</c:v>
                </c:pt>
                <c:pt idx="71">
                  <c:v>333.58102668287756</c:v>
                </c:pt>
                <c:pt idx="72">
                  <c:v>338.9274377682367</c:v>
                </c:pt>
                <c:pt idx="73">
                  <c:v>343.93614291392129</c:v>
                </c:pt>
                <c:pt idx="74">
                  <c:v>348.54934199503725</c:v>
                </c:pt>
                <c:pt idx="75">
                  <c:v>352.76051438422502</c:v>
                </c:pt>
                <c:pt idx="76">
                  <c:v>356.55182903799164</c:v>
                </c:pt>
                <c:pt idx="77">
                  <c:v>359.92552443098043</c:v>
                </c:pt>
                <c:pt idx="78">
                  <c:v>362.81007003896832</c:v>
                </c:pt>
                <c:pt idx="79">
                  <c:v>365.2395274913124</c:v>
                </c:pt>
                <c:pt idx="80">
                  <c:v>367.19571366371588</c:v>
                </c:pt>
                <c:pt idx="81">
                  <c:v>368.6353458369299</c:v>
                </c:pt>
                <c:pt idx="82">
                  <c:v>369.5629386985978</c:v>
                </c:pt>
                <c:pt idx="83">
                  <c:v>370.01237833864423</c:v>
                </c:pt>
                <c:pt idx="84">
                  <c:v>369.96329344833731</c:v>
                </c:pt>
                <c:pt idx="85">
                  <c:v>369.3842296778721</c:v>
                </c:pt>
                <c:pt idx="86">
                  <c:v>368.35044357167362</c:v>
                </c:pt>
                <c:pt idx="87">
                  <c:v>366.84357188994227</c:v>
                </c:pt>
                <c:pt idx="88">
                  <c:v>364.77622059029272</c:v>
                </c:pt>
                <c:pt idx="89">
                  <c:v>362.2682160264593</c:v>
                </c:pt>
                <c:pt idx="90">
                  <c:v>359.3258581255584</c:v>
                </c:pt>
                <c:pt idx="91">
                  <c:v>355.93689993203304</c:v>
                </c:pt>
                <c:pt idx="92">
                  <c:v>352.06789373086724</c:v>
                </c:pt>
                <c:pt idx="93">
                  <c:v>347.78621566201315</c:v>
                </c:pt>
                <c:pt idx="94">
                  <c:v>343.12497570304663</c:v>
                </c:pt>
                <c:pt idx="95">
                  <c:v>338.08787522846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0</c:v>
                </c:pt>
                <c:pt idx="1">
                  <c:v>37</c:v>
                </c:pt>
                <c:pt idx="2">
                  <c:v>42</c:v>
                </c:pt>
                <c:pt idx="3">
                  <c:v>47</c:v>
                </c:pt>
                <c:pt idx="4">
                  <c:v>54</c:v>
                </c:pt>
                <c:pt idx="5">
                  <c:v>62</c:v>
                </c:pt>
                <c:pt idx="6">
                  <c:v>57</c:v>
                </c:pt>
                <c:pt idx="7">
                  <c:v>66</c:v>
                </c:pt>
                <c:pt idx="8">
                  <c:v>62</c:v>
                </c:pt>
                <c:pt idx="9">
                  <c:v>67</c:v>
                </c:pt>
                <c:pt idx="10">
                  <c:v>91</c:v>
                </c:pt>
                <c:pt idx="11">
                  <c:v>96</c:v>
                </c:pt>
                <c:pt idx="12">
                  <c:v>98</c:v>
                </c:pt>
                <c:pt idx="13">
                  <c:v>102</c:v>
                </c:pt>
                <c:pt idx="14">
                  <c:v>112</c:v>
                </c:pt>
                <c:pt idx="15">
                  <c:v>109</c:v>
                </c:pt>
                <c:pt idx="16">
                  <c:v>117</c:v>
                </c:pt>
                <c:pt idx="17">
                  <c:v>140</c:v>
                </c:pt>
                <c:pt idx="18">
                  <c:v>150</c:v>
                </c:pt>
                <c:pt idx="19">
                  <c:v>156</c:v>
                </c:pt>
                <c:pt idx="20">
                  <c:v>159</c:v>
                </c:pt>
                <c:pt idx="21">
                  <c:v>165</c:v>
                </c:pt>
                <c:pt idx="22">
                  <c:v>169</c:v>
                </c:pt>
                <c:pt idx="23">
                  <c:v>183</c:v>
                </c:pt>
                <c:pt idx="24">
                  <c:v>224</c:v>
                </c:pt>
                <c:pt idx="25">
                  <c:v>253</c:v>
                </c:pt>
                <c:pt idx="26">
                  <c:v>286</c:v>
                </c:pt>
                <c:pt idx="27">
                  <c:v>279</c:v>
                </c:pt>
                <c:pt idx="28">
                  <c:v>328</c:v>
                </c:pt>
                <c:pt idx="29">
                  <c:v>303</c:v>
                </c:pt>
                <c:pt idx="30">
                  <c:v>327</c:v>
                </c:pt>
                <c:pt idx="31">
                  <c:v>404</c:v>
                </c:pt>
                <c:pt idx="32">
                  <c:v>430</c:v>
                </c:pt>
                <c:pt idx="33">
                  <c:v>465</c:v>
                </c:pt>
                <c:pt idx="34">
                  <c:v>499</c:v>
                </c:pt>
                <c:pt idx="35">
                  <c:v>504</c:v>
                </c:pt>
                <c:pt idx="36">
                  <c:v>498</c:v>
                </c:pt>
                <c:pt idx="37">
                  <c:v>541</c:v>
                </c:pt>
                <c:pt idx="38">
                  <c:v>607</c:v>
                </c:pt>
                <c:pt idx="39">
                  <c:v>644</c:v>
                </c:pt>
                <c:pt idx="40">
                  <c:v>665</c:v>
                </c:pt>
                <c:pt idx="41">
                  <c:v>693</c:v>
                </c:pt>
                <c:pt idx="42">
                  <c:v>700</c:v>
                </c:pt>
                <c:pt idx="43">
                  <c:v>687</c:v>
                </c:pt>
                <c:pt idx="44">
                  <c:v>711</c:v>
                </c:pt>
                <c:pt idx="45">
                  <c:v>805</c:v>
                </c:pt>
                <c:pt idx="46">
                  <c:v>793</c:v>
                </c:pt>
                <c:pt idx="47">
                  <c:v>779</c:v>
                </c:pt>
                <c:pt idx="48">
                  <c:v>852</c:v>
                </c:pt>
                <c:pt idx="49">
                  <c:v>876</c:v>
                </c:pt>
                <c:pt idx="50">
                  <c:v>852</c:v>
                </c:pt>
                <c:pt idx="51">
                  <c:v>893</c:v>
                </c:pt>
                <c:pt idx="52">
                  <c:v>964</c:v>
                </c:pt>
                <c:pt idx="53">
                  <c:v>955</c:v>
                </c:pt>
                <c:pt idx="54">
                  <c:v>940</c:v>
                </c:pt>
                <c:pt idx="55">
                  <c:v>933</c:v>
                </c:pt>
                <c:pt idx="56">
                  <c:v>929</c:v>
                </c:pt>
                <c:pt idx="57">
                  <c:v>862</c:v>
                </c:pt>
                <c:pt idx="58">
                  <c:v>889</c:v>
                </c:pt>
                <c:pt idx="59">
                  <c:v>987</c:v>
                </c:pt>
                <c:pt idx="60">
                  <c:v>986</c:v>
                </c:pt>
                <c:pt idx="61">
                  <c:v>982</c:v>
                </c:pt>
                <c:pt idx="62">
                  <c:v>1016</c:v>
                </c:pt>
                <c:pt idx="63">
                  <c:v>989</c:v>
                </c:pt>
                <c:pt idx="64">
                  <c:v>929</c:v>
                </c:pt>
                <c:pt idx="65">
                  <c:v>925</c:v>
                </c:pt>
                <c:pt idx="66">
                  <c:v>996</c:v>
                </c:pt>
                <c:pt idx="67">
                  <c:v>963</c:v>
                </c:pt>
                <c:pt idx="68">
                  <c:v>960</c:v>
                </c:pt>
                <c:pt idx="69">
                  <c:v>920</c:v>
                </c:pt>
                <c:pt idx="70">
                  <c:v>901</c:v>
                </c:pt>
                <c:pt idx="71">
                  <c:v>816</c:v>
                </c:pt>
                <c:pt idx="72">
                  <c:v>790</c:v>
                </c:pt>
                <c:pt idx="73">
                  <c:v>839</c:v>
                </c:pt>
                <c:pt idx="74">
                  <c:v>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96.38044039254021</c:v>
                </c:pt>
                <c:pt idx="43">
                  <c:v>615.80963452619835</c:v>
                </c:pt>
                <c:pt idx="44">
                  <c:v>635.18570559701584</c:v>
                </c:pt>
                <c:pt idx="45">
                  <c:v>653.7770361642539</c:v>
                </c:pt>
                <c:pt idx="46">
                  <c:v>670.89718895626197</c:v>
                </c:pt>
                <c:pt idx="47">
                  <c:v>686.8704498099828</c:v>
                </c:pt>
                <c:pt idx="48">
                  <c:v>702.35121675288906</c:v>
                </c:pt>
                <c:pt idx="49">
                  <c:v>717.63397010366668</c:v>
                </c:pt>
                <c:pt idx="50">
                  <c:v>732.63362691776672</c:v>
                </c:pt>
                <c:pt idx="51">
                  <c:v>748.12805869173781</c:v>
                </c:pt>
                <c:pt idx="52">
                  <c:v>763.11294382573556</c:v>
                </c:pt>
                <c:pt idx="53">
                  <c:v>775.8531500337665</c:v>
                </c:pt>
                <c:pt idx="54">
                  <c:v>787.4201771497942</c:v>
                </c:pt>
                <c:pt idx="55">
                  <c:v>798.53272015443838</c:v>
                </c:pt>
                <c:pt idx="56">
                  <c:v>809.43693745066184</c:v>
                </c:pt>
                <c:pt idx="57">
                  <c:v>820.23537109628592</c:v>
                </c:pt>
                <c:pt idx="58">
                  <c:v>830.85789390330547</c:v>
                </c:pt>
                <c:pt idx="59">
                  <c:v>841.17748275520364</c:v>
                </c:pt>
                <c:pt idx="60">
                  <c:v>850.66326626977184</c:v>
                </c:pt>
                <c:pt idx="61">
                  <c:v>859.41957063315135</c:v>
                </c:pt>
                <c:pt idx="62">
                  <c:v>867.55084795728885</c:v>
                </c:pt>
                <c:pt idx="63">
                  <c:v>875.11562559577476</c:v>
                </c:pt>
                <c:pt idx="64">
                  <c:v>882.03666828066071</c:v>
                </c:pt>
                <c:pt idx="65">
                  <c:v>888.45279311214063</c:v>
                </c:pt>
                <c:pt idx="66">
                  <c:v>894.25252975343517</c:v>
                </c:pt>
                <c:pt idx="67">
                  <c:v>899.46194379962867</c:v>
                </c:pt>
                <c:pt idx="68">
                  <c:v>903.87215600161289</c:v>
                </c:pt>
                <c:pt idx="69">
                  <c:v>907.57724260793748</c:v>
                </c:pt>
                <c:pt idx="70">
                  <c:v>910.66281121803718</c:v>
                </c:pt>
                <c:pt idx="71">
                  <c:v>912.81981099249344</c:v>
                </c:pt>
                <c:pt idx="72">
                  <c:v>914.26584168811291</c:v>
                </c:pt>
                <c:pt idx="73">
                  <c:v>915.02726111152947</c:v>
                </c:pt>
                <c:pt idx="74">
                  <c:v>914.96915369351814</c:v>
                </c:pt>
                <c:pt idx="75">
                  <c:v>914.14011060237317</c:v>
                </c:pt>
                <c:pt idx="76">
                  <c:v>912.56359182082201</c:v>
                </c:pt>
                <c:pt idx="77">
                  <c:v>910.30532049163048</c:v>
                </c:pt>
                <c:pt idx="78">
                  <c:v>907.15182120453096</c:v>
                </c:pt>
                <c:pt idx="79">
                  <c:v>903.29562659778242</c:v>
                </c:pt>
                <c:pt idx="80">
                  <c:v>898.7371909516271</c:v>
                </c:pt>
                <c:pt idx="81">
                  <c:v>893.36435849549139</c:v>
                </c:pt>
                <c:pt idx="82">
                  <c:v>887.20705489921068</c:v>
                </c:pt>
                <c:pt idx="83">
                  <c:v>880.44914525935883</c:v>
                </c:pt>
                <c:pt idx="84">
                  <c:v>873.024419101082</c:v>
                </c:pt>
                <c:pt idx="85">
                  <c:v>864.80212836653618</c:v>
                </c:pt>
                <c:pt idx="86">
                  <c:v>856.10544207867815</c:v>
                </c:pt>
                <c:pt idx="87">
                  <c:v>846.86309778255952</c:v>
                </c:pt>
                <c:pt idx="88">
                  <c:v>836.74493824693559</c:v>
                </c:pt>
                <c:pt idx="89">
                  <c:v>826.18743843938842</c:v>
                </c:pt>
                <c:pt idx="90">
                  <c:v>815.19639564509123</c:v>
                </c:pt>
                <c:pt idx="91">
                  <c:v>803.69112064801425</c:v>
                </c:pt>
                <c:pt idx="92">
                  <c:v>791.51847279249694</c:v>
                </c:pt>
                <c:pt idx="93">
                  <c:v>778.89883331962267</c:v>
                </c:pt>
                <c:pt idx="94">
                  <c:v>765.92697626792653</c:v>
                </c:pt>
                <c:pt idx="95">
                  <c:v>752.5567251960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97.76061399113121</c:v>
                </c:pt>
                <c:pt idx="43">
                  <c:v>619.06504772947642</c:v>
                </c:pt>
                <c:pt idx="44">
                  <c:v>640.8467439330874</c:v>
                </c:pt>
                <c:pt idx="45">
                  <c:v>662.38829496233905</c:v>
                </c:pt>
                <c:pt idx="46">
                  <c:v>683.0304631397089</c:v>
                </c:pt>
                <c:pt idx="47">
                  <c:v>703.09588549422119</c:v>
                </c:pt>
                <c:pt idx="48">
                  <c:v>723.24709630014183</c:v>
                </c:pt>
                <c:pt idx="49">
                  <c:v>743.76508654184033</c:v>
                </c:pt>
                <c:pt idx="50">
                  <c:v>764.56255570399003</c:v>
                </c:pt>
                <c:pt idx="51">
                  <c:v>786.39957885314493</c:v>
                </c:pt>
                <c:pt idx="52">
                  <c:v>808.26200137279693</c:v>
                </c:pt>
                <c:pt idx="53">
                  <c:v>828.3932665793111</c:v>
                </c:pt>
                <c:pt idx="54">
                  <c:v>847.84712945017566</c:v>
                </c:pt>
                <c:pt idx="55">
                  <c:v>867.31249096767237</c:v>
                </c:pt>
                <c:pt idx="56">
                  <c:v>886.99290609649472</c:v>
                </c:pt>
                <c:pt idx="57">
                  <c:v>906.91213601425261</c:v>
                </c:pt>
                <c:pt idx="58">
                  <c:v>926.97496477469247</c:v>
                </c:pt>
                <c:pt idx="59">
                  <c:v>947.01620982159955</c:v>
                </c:pt>
                <c:pt idx="60">
                  <c:v>966.47899135753619</c:v>
                </c:pt>
                <c:pt idx="61">
                  <c:v>985.41576429712154</c:v>
                </c:pt>
                <c:pt idx="62">
                  <c:v>1003.8925631599468</c:v>
                </c:pt>
                <c:pt idx="63">
                  <c:v>1021.9218935930719</c:v>
                </c:pt>
                <c:pt idx="64">
                  <c:v>1039.3715072204063</c:v>
                </c:pt>
                <c:pt idx="65">
                  <c:v>1056.3319103040646</c:v>
                </c:pt>
                <c:pt idx="66">
                  <c:v>1072.6521900197449</c:v>
                </c:pt>
                <c:pt idx="67">
                  <c:v>1088.3125643029741</c:v>
                </c:pt>
                <c:pt idx="68">
                  <c:v>1103.0632241963071</c:v>
                </c:pt>
                <c:pt idx="69">
                  <c:v>1116.9556344522441</c:v>
                </c:pt>
                <c:pt idx="70">
                  <c:v>1130.0311118132365</c:v>
                </c:pt>
                <c:pt idx="71">
                  <c:v>1141.9383464851951</c:v>
                </c:pt>
                <c:pt idx="72">
                  <c:v>1152.8513627552411</c:v>
                </c:pt>
                <c:pt idx="73">
                  <c:v>1162.758725184553</c:v>
                </c:pt>
                <c:pt idx="74">
                  <c:v>1171.4894317917965</c:v>
                </c:pt>
                <c:pt idx="75">
                  <c:v>1179.0570836761167</c:v>
                </c:pt>
                <c:pt idx="76">
                  <c:v>1185.4523607103713</c:v>
                </c:pt>
                <c:pt idx="77">
                  <c:v>1190.7129606649683</c:v>
                </c:pt>
                <c:pt idx="78">
                  <c:v>1194.5973662055601</c:v>
                </c:pt>
                <c:pt idx="79">
                  <c:v>1197.2749556486383</c:v>
                </c:pt>
                <c:pt idx="80">
                  <c:v>1198.7251396234842</c:v>
                </c:pt>
                <c:pt idx="81">
                  <c:v>1198.8177148445147</c:v>
                </c:pt>
                <c:pt idx="82">
                  <c:v>1197.5664032804993</c:v>
                </c:pt>
                <c:pt idx="83">
                  <c:v>1195.1439861716549</c:v>
                </c:pt>
                <c:pt idx="84">
                  <c:v>1191.4755275396203</c:v>
                </c:pt>
                <c:pt idx="85">
                  <c:v>1186.4246865250104</c:v>
                </c:pt>
                <c:pt idx="86">
                  <c:v>1180.3121342964259</c:v>
                </c:pt>
                <c:pt idx="87">
                  <c:v>1173.0670820128807</c:v>
                </c:pt>
                <c:pt idx="88">
                  <c:v>1164.361490437723</c:v>
                </c:pt>
                <c:pt idx="89">
                  <c:v>1154.6387381925529</c:v>
                </c:pt>
                <c:pt idx="90">
                  <c:v>1143.9121565504877</c:v>
                </c:pt>
                <c:pt idx="91">
                  <c:v>1132.1118838508551</c:v>
                </c:pt>
                <c:pt idx="92">
                  <c:v>1119.0814544365696</c:v>
                </c:pt>
                <c:pt idx="93">
                  <c:v>1105.0676865879607</c:v>
                </c:pt>
                <c:pt idx="94">
                  <c:v>1090.1823885493022</c:v>
                </c:pt>
                <c:pt idx="95">
                  <c:v>1074.398282954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99.14957675227163</c:v>
                </c:pt>
                <c:pt idx="43">
                  <c:v>622.35183005442423</c:v>
                </c:pt>
                <c:pt idx="44">
                  <c:v>646.58433130693049</c:v>
                </c:pt>
                <c:pt idx="45">
                  <c:v>671.15399683027226</c:v>
                </c:pt>
                <c:pt idx="46">
                  <c:v>695.4399816764668</c:v>
                </c:pt>
                <c:pt idx="47">
                  <c:v>719.77512701167961</c:v>
                </c:pt>
                <c:pt idx="48">
                  <c:v>744.84248612876013</c:v>
                </c:pt>
                <c:pt idx="49">
                  <c:v>770.92209230609535</c:v>
                </c:pt>
                <c:pt idx="50">
                  <c:v>797.93689645183792</c:v>
                </c:pt>
                <c:pt idx="51">
                  <c:v>826.64125186614979</c:v>
                </c:pt>
                <c:pt idx="52">
                  <c:v>856.02264585984233</c:v>
                </c:pt>
                <c:pt idx="53">
                  <c:v>884.31358398613986</c:v>
                </c:pt>
                <c:pt idx="54">
                  <c:v>912.55940203757768</c:v>
                </c:pt>
                <c:pt idx="55">
                  <c:v>941.42707309913953</c:v>
                </c:pt>
                <c:pt idx="56">
                  <c:v>971.08378803525409</c:v>
                </c:pt>
                <c:pt idx="57">
                  <c:v>1001.4786109911033</c:v>
                </c:pt>
                <c:pt idx="58">
                  <c:v>1032.4933909808615</c:v>
                </c:pt>
                <c:pt idx="59">
                  <c:v>1063.924711684655</c:v>
                </c:pt>
                <c:pt idx="60">
                  <c:v>1095.1872172033331</c:v>
                </c:pt>
                <c:pt idx="61">
                  <c:v>1126.2764463181031</c:v>
                </c:pt>
                <c:pt idx="62">
                  <c:v>1157.2124476219831</c:v>
                </c:pt>
                <c:pt idx="63">
                  <c:v>1187.9516258649785</c:v>
                </c:pt>
                <c:pt idx="64">
                  <c:v>1218.2941263472619</c:v>
                </c:pt>
                <c:pt idx="65">
                  <c:v>1248.2674267836651</c:v>
                </c:pt>
                <c:pt idx="66">
                  <c:v>1277.6644779604896</c:v>
                </c:pt>
                <c:pt idx="67">
                  <c:v>1306.4007443482328</c:v>
                </c:pt>
                <c:pt idx="68">
                  <c:v>1334.1646918394511</c:v>
                </c:pt>
                <c:pt idx="69">
                  <c:v>1360.9427268112581</c:v>
                </c:pt>
                <c:pt idx="70">
                  <c:v>1386.7080891513149</c:v>
                </c:pt>
                <c:pt idx="71">
                  <c:v>1411.0423890657007</c:v>
                </c:pt>
                <c:pt idx="72">
                  <c:v>1434.0506525255037</c:v>
                </c:pt>
                <c:pt idx="73">
                  <c:v>1455.6579523862561</c:v>
                </c:pt>
                <c:pt idx="74">
                  <c:v>1475.6314907680926</c:v>
                </c:pt>
                <c:pt idx="75">
                  <c:v>1493.9244985527725</c:v>
                </c:pt>
                <c:pt idx="76">
                  <c:v>1510.4701818831097</c:v>
                </c:pt>
                <c:pt idx="77">
                  <c:v>1525.254560057572</c:v>
                </c:pt>
                <c:pt idx="78">
                  <c:v>1537.9857801102028</c:v>
                </c:pt>
                <c:pt idx="79">
                  <c:v>1548.7894470425072</c:v>
                </c:pt>
                <c:pt idx="80">
                  <c:v>1557.6052370106963</c:v>
                </c:pt>
                <c:pt idx="81">
                  <c:v>1564.2683792403395</c:v>
                </c:pt>
                <c:pt idx="82">
                  <c:v>1568.7622553721292</c:v>
                </c:pt>
                <c:pt idx="83">
                  <c:v>1571.2369953692764</c:v>
                </c:pt>
                <c:pt idx="84">
                  <c:v>1571.6000681111302</c:v>
                </c:pt>
                <c:pt idx="85">
                  <c:v>1569.7034562415515</c:v>
                </c:pt>
                <c:pt idx="86">
                  <c:v>1565.8620800135168</c:v>
                </c:pt>
                <c:pt idx="87">
                  <c:v>1560.0051977168164</c:v>
                </c:pt>
                <c:pt idx="88">
                  <c:v>1551.8092432998474</c:v>
                </c:pt>
                <c:pt idx="89">
                  <c:v>1541.7295740152163</c:v>
                </c:pt>
                <c:pt idx="90">
                  <c:v>1529.7947271637317</c:v>
                </c:pt>
                <c:pt idx="91">
                  <c:v>1515.9557993663404</c:v>
                </c:pt>
                <c:pt idx="92">
                  <c:v>1500.0653097345207</c:v>
                </c:pt>
                <c:pt idx="93">
                  <c:v>1482.4109429570435</c:v>
                </c:pt>
                <c:pt idx="94">
                  <c:v>1463.1377809395149</c:v>
                </c:pt>
                <c:pt idx="95">
                  <c:v>1442.2552829376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6</c:v>
                </c:pt>
                <c:pt idx="4">
                  <c:v>10</c:v>
                </c:pt>
                <c:pt idx="5">
                  <c:v>13</c:v>
                </c:pt>
                <c:pt idx="6">
                  <c:v>19</c:v>
                </c:pt>
                <c:pt idx="7">
                  <c:v>23</c:v>
                </c:pt>
                <c:pt idx="8">
                  <c:v>23</c:v>
                </c:pt>
                <c:pt idx="9">
                  <c:v>24</c:v>
                </c:pt>
                <c:pt idx="10">
                  <c:v>29</c:v>
                </c:pt>
                <c:pt idx="11">
                  <c:v>30</c:v>
                </c:pt>
                <c:pt idx="12">
                  <c:v>33</c:v>
                </c:pt>
                <c:pt idx="13">
                  <c:v>36</c:v>
                </c:pt>
                <c:pt idx="14">
                  <c:v>40</c:v>
                </c:pt>
                <c:pt idx="15">
                  <c:v>37</c:v>
                </c:pt>
                <c:pt idx="16">
                  <c:v>37</c:v>
                </c:pt>
                <c:pt idx="17">
                  <c:v>47</c:v>
                </c:pt>
                <c:pt idx="18">
                  <c:v>47</c:v>
                </c:pt>
                <c:pt idx="19">
                  <c:v>52</c:v>
                </c:pt>
                <c:pt idx="20">
                  <c:v>51</c:v>
                </c:pt>
                <c:pt idx="21">
                  <c:v>63</c:v>
                </c:pt>
                <c:pt idx="22">
                  <c:v>59</c:v>
                </c:pt>
                <c:pt idx="23">
                  <c:v>57</c:v>
                </c:pt>
                <c:pt idx="24">
                  <c:v>65</c:v>
                </c:pt>
                <c:pt idx="25">
                  <c:v>82</c:v>
                </c:pt>
                <c:pt idx="26">
                  <c:v>89</c:v>
                </c:pt>
                <c:pt idx="27">
                  <c:v>80</c:v>
                </c:pt>
                <c:pt idx="28">
                  <c:v>98</c:v>
                </c:pt>
                <c:pt idx="29">
                  <c:v>100</c:v>
                </c:pt>
                <c:pt idx="30">
                  <c:v>109</c:v>
                </c:pt>
                <c:pt idx="31">
                  <c:v>139</c:v>
                </c:pt>
                <c:pt idx="32">
                  <c:v>142</c:v>
                </c:pt>
                <c:pt idx="33">
                  <c:v>154</c:v>
                </c:pt>
                <c:pt idx="34">
                  <c:v>173</c:v>
                </c:pt>
                <c:pt idx="35">
                  <c:v>192</c:v>
                </c:pt>
                <c:pt idx="36">
                  <c:v>194</c:v>
                </c:pt>
                <c:pt idx="37">
                  <c:v>212</c:v>
                </c:pt>
                <c:pt idx="38">
                  <c:v>255</c:v>
                </c:pt>
                <c:pt idx="39">
                  <c:v>292</c:v>
                </c:pt>
                <c:pt idx="40">
                  <c:v>313</c:v>
                </c:pt>
                <c:pt idx="41">
                  <c:v>337</c:v>
                </c:pt>
                <c:pt idx="42">
                  <c:v>372</c:v>
                </c:pt>
                <c:pt idx="43">
                  <c:v>358</c:v>
                </c:pt>
                <c:pt idx="44">
                  <c:v>373</c:v>
                </c:pt>
                <c:pt idx="45">
                  <c:v>408</c:v>
                </c:pt>
                <c:pt idx="46">
                  <c:v>426</c:v>
                </c:pt>
                <c:pt idx="47">
                  <c:v>414</c:v>
                </c:pt>
                <c:pt idx="48">
                  <c:v>432</c:v>
                </c:pt>
                <c:pt idx="49">
                  <c:v>429</c:v>
                </c:pt>
                <c:pt idx="50">
                  <c:v>428</c:v>
                </c:pt>
                <c:pt idx="51">
                  <c:v>451</c:v>
                </c:pt>
                <c:pt idx="52">
                  <c:v>455</c:v>
                </c:pt>
                <c:pt idx="53">
                  <c:v>465</c:v>
                </c:pt>
                <c:pt idx="54">
                  <c:v>457</c:v>
                </c:pt>
                <c:pt idx="55">
                  <c:v>455</c:v>
                </c:pt>
                <c:pt idx="56">
                  <c:v>466</c:v>
                </c:pt>
                <c:pt idx="57">
                  <c:v>428</c:v>
                </c:pt>
                <c:pt idx="58">
                  <c:v>427</c:v>
                </c:pt>
                <c:pt idx="59">
                  <c:v>481</c:v>
                </c:pt>
                <c:pt idx="60">
                  <c:v>476</c:v>
                </c:pt>
                <c:pt idx="61">
                  <c:v>465</c:v>
                </c:pt>
                <c:pt idx="62">
                  <c:v>478</c:v>
                </c:pt>
                <c:pt idx="63">
                  <c:v>476</c:v>
                </c:pt>
                <c:pt idx="64">
                  <c:v>433</c:v>
                </c:pt>
                <c:pt idx="65">
                  <c:v>429</c:v>
                </c:pt>
                <c:pt idx="66">
                  <c:v>457</c:v>
                </c:pt>
                <c:pt idx="67">
                  <c:v>439</c:v>
                </c:pt>
                <c:pt idx="68">
                  <c:v>427</c:v>
                </c:pt>
                <c:pt idx="69">
                  <c:v>419</c:v>
                </c:pt>
                <c:pt idx="70">
                  <c:v>421</c:v>
                </c:pt>
                <c:pt idx="71">
                  <c:v>399</c:v>
                </c:pt>
                <c:pt idx="72">
                  <c:v>408</c:v>
                </c:pt>
                <c:pt idx="73">
                  <c:v>452</c:v>
                </c:pt>
                <c:pt idx="74">
                  <c:v>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90.83459622305293</c:v>
                </c:pt>
                <c:pt idx="43">
                  <c:v>299.8878907494751</c:v>
                </c:pt>
                <c:pt idx="44">
                  <c:v>308.9231193859631</c:v>
                </c:pt>
                <c:pt idx="45">
                  <c:v>317.55913506251341</c:v>
                </c:pt>
                <c:pt idx="46">
                  <c:v>325.42561524704274</c:v>
                </c:pt>
                <c:pt idx="47">
                  <c:v>332.72375090629725</c:v>
                </c:pt>
                <c:pt idx="48">
                  <c:v>339.83191574286434</c:v>
                </c:pt>
                <c:pt idx="49">
                  <c:v>346.88765011730214</c:v>
                </c:pt>
                <c:pt idx="50">
                  <c:v>353.83077631955513</c:v>
                </c:pt>
                <c:pt idx="51">
                  <c:v>361.06599271528461</c:v>
                </c:pt>
                <c:pt idx="52">
                  <c:v>368.09857788340997</c:v>
                </c:pt>
                <c:pt idx="53">
                  <c:v>374.03652886155976</c:v>
                </c:pt>
                <c:pt idx="54">
                  <c:v>379.39540712848287</c:v>
                </c:pt>
                <c:pt idx="55">
                  <c:v>384.57192468937581</c:v>
                </c:pt>
                <c:pt idx="56">
                  <c:v>389.68661611533042</c:v>
                </c:pt>
                <c:pt idx="57">
                  <c:v>394.80964737620178</c:v>
                </c:pt>
                <c:pt idx="58">
                  <c:v>399.86887981282109</c:v>
                </c:pt>
                <c:pt idx="59">
                  <c:v>404.80533770702374</c:v>
                </c:pt>
                <c:pt idx="60">
                  <c:v>409.38040918931597</c:v>
                </c:pt>
                <c:pt idx="61">
                  <c:v>413.60767841457636</c:v>
                </c:pt>
                <c:pt idx="62">
                  <c:v>417.55277716429231</c:v>
                </c:pt>
                <c:pt idx="63">
                  <c:v>421.24114005570021</c:v>
                </c:pt>
                <c:pt idx="64">
                  <c:v>424.62991696840567</c:v>
                </c:pt>
                <c:pt idx="65">
                  <c:v>427.78755247109802</c:v>
                </c:pt>
                <c:pt idx="66">
                  <c:v>430.65777172814182</c:v>
                </c:pt>
                <c:pt idx="67">
                  <c:v>433.26204303662394</c:v>
                </c:pt>
                <c:pt idx="68">
                  <c:v>435.48517384765711</c:v>
                </c:pt>
                <c:pt idx="69">
                  <c:v>437.38462582485084</c:v>
                </c:pt>
                <c:pt idx="70">
                  <c:v>438.98705967461916</c:v>
                </c:pt>
                <c:pt idx="71">
                  <c:v>440.14228029142521</c:v>
                </c:pt>
                <c:pt idx="72">
                  <c:v>440.95314696291223</c:v>
                </c:pt>
                <c:pt idx="73">
                  <c:v>441.43837318826206</c:v>
                </c:pt>
                <c:pt idx="74">
                  <c:v>441.54218279726103</c:v>
                </c:pt>
                <c:pt idx="75">
                  <c:v>441.27640998750752</c:v>
                </c:pt>
                <c:pt idx="76">
                  <c:v>440.65906467588292</c:v>
                </c:pt>
                <c:pt idx="77">
                  <c:v>439.7074096504133</c:v>
                </c:pt>
                <c:pt idx="78">
                  <c:v>438.32674190376804</c:v>
                </c:pt>
                <c:pt idx="79">
                  <c:v>436.59900701538311</c:v>
                </c:pt>
                <c:pt idx="80">
                  <c:v>434.53657246409978</c:v>
                </c:pt>
                <c:pt idx="81">
                  <c:v>432.0988273676935</c:v>
                </c:pt>
                <c:pt idx="82">
                  <c:v>429.27803844284972</c:v>
                </c:pt>
                <c:pt idx="83">
                  <c:v>426.16863242284546</c:v>
                </c:pt>
                <c:pt idx="84">
                  <c:v>422.73604608206847</c:v>
                </c:pt>
                <c:pt idx="85">
                  <c:v>418.90905748887457</c:v>
                </c:pt>
                <c:pt idx="86">
                  <c:v>414.84225940317276</c:v>
                </c:pt>
                <c:pt idx="87">
                  <c:v>410.50727500767539</c:v>
                </c:pt>
                <c:pt idx="88">
                  <c:v>405.77650666198957</c:v>
                </c:pt>
                <c:pt idx="89">
                  <c:v>400.82765762440522</c:v>
                </c:pt>
                <c:pt idx="90">
                  <c:v>395.66570152816871</c:v>
                </c:pt>
                <c:pt idx="91">
                  <c:v>390.25473874911461</c:v>
                </c:pt>
                <c:pt idx="92">
                  <c:v>384.51505879973297</c:v>
                </c:pt>
                <c:pt idx="93">
                  <c:v>378.55725486353981</c:v>
                </c:pt>
                <c:pt idx="94">
                  <c:v>372.4308198806271</c:v>
                </c:pt>
                <c:pt idx="95">
                  <c:v>366.11003505326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91.47720308270596</c:v>
                </c:pt>
                <c:pt idx="43">
                  <c:v>301.4032576906892</c:v>
                </c:pt>
                <c:pt idx="44">
                  <c:v>311.55987863761607</c:v>
                </c:pt>
                <c:pt idx="45">
                  <c:v>321.57429409244412</c:v>
                </c:pt>
                <c:pt idx="46">
                  <c:v>331.08873397577713</c:v>
                </c:pt>
                <c:pt idx="47">
                  <c:v>340.30520820180521</c:v>
                </c:pt>
                <c:pt idx="48">
                  <c:v>349.60683003367473</c:v>
                </c:pt>
                <c:pt idx="49">
                  <c:v>359.12555329352864</c:v>
                </c:pt>
                <c:pt idx="50">
                  <c:v>368.80109161450611</c:v>
                </c:pt>
                <c:pt idx="51">
                  <c:v>379.03069635811369</c:v>
                </c:pt>
                <c:pt idx="52">
                  <c:v>389.31640074027825</c:v>
                </c:pt>
                <c:pt idx="53">
                  <c:v>398.75633884943056</c:v>
                </c:pt>
                <c:pt idx="54">
                  <c:v>407.85776629696443</c:v>
                </c:pt>
                <c:pt idx="55">
                  <c:v>417.00496740734837</c:v>
                </c:pt>
                <c:pt idx="56">
                  <c:v>426.29918951986252</c:v>
                </c:pt>
                <c:pt idx="57">
                  <c:v>435.77248648757518</c:v>
                </c:pt>
                <c:pt idx="58">
                  <c:v>445.34107633621943</c:v>
                </c:pt>
                <c:pt idx="59">
                  <c:v>454.92804493363974</c:v>
                </c:pt>
                <c:pt idx="60">
                  <c:v>464.28290955449637</c:v>
                </c:pt>
                <c:pt idx="61">
                  <c:v>473.39444764409859</c:v>
                </c:pt>
                <c:pt idx="62">
                  <c:v>482.31019932956713</c:v>
                </c:pt>
                <c:pt idx="63">
                  <c:v>491.03281326870581</c:v>
                </c:pt>
                <c:pt idx="64">
                  <c:v>499.49404347103416</c:v>
                </c:pt>
                <c:pt idx="65">
                  <c:v>507.73856448881787</c:v>
                </c:pt>
                <c:pt idx="66">
                  <c:v>515.69109686171043</c:v>
                </c:pt>
                <c:pt idx="67">
                  <c:v>523.35086549194011</c:v>
                </c:pt>
                <c:pt idx="68">
                  <c:v>530.58277925760058</c:v>
                </c:pt>
                <c:pt idx="69">
                  <c:v>537.42365479459215</c:v>
                </c:pt>
                <c:pt idx="70">
                  <c:v>543.87852487466864</c:v>
                </c:pt>
                <c:pt idx="71">
                  <c:v>549.77672985880781</c:v>
                </c:pt>
                <c:pt idx="72">
                  <c:v>555.19974521812583</c:v>
                </c:pt>
                <c:pt idx="73">
                  <c:v>560.14819326559245</c:v>
                </c:pt>
                <c:pt idx="74">
                  <c:v>564.54823652436994</c:v>
                </c:pt>
                <c:pt idx="75">
                  <c:v>568.39444514400634</c:v>
                </c:pt>
                <c:pt idx="76">
                  <c:v>571.68859858612586</c:v>
                </c:pt>
                <c:pt idx="77">
                  <c:v>574.43410978949578</c:v>
                </c:pt>
                <c:pt idx="78">
                  <c:v>576.52243656282917</c:v>
                </c:pt>
                <c:pt idx="79">
                  <c:v>578.02383554839741</c:v>
                </c:pt>
                <c:pt idx="80">
                  <c:v>578.94006264893551</c:v>
                </c:pt>
                <c:pt idx="81">
                  <c:v>579.22132699857139</c:v>
                </c:pt>
                <c:pt idx="82">
                  <c:v>578.85171359750348</c:v>
                </c:pt>
                <c:pt idx="83">
                  <c:v>577.91974536339137</c:v>
                </c:pt>
                <c:pt idx="84">
                  <c:v>576.38616817194156</c:v>
                </c:pt>
                <c:pt idx="85">
                  <c:v>574.17658354625405</c:v>
                </c:pt>
                <c:pt idx="86">
                  <c:v>571.44390688417525</c:v>
                </c:pt>
                <c:pt idx="87">
                  <c:v>568.15952793842951</c:v>
                </c:pt>
                <c:pt idx="88">
                  <c:v>564.19653929996298</c:v>
                </c:pt>
                <c:pt idx="89">
                  <c:v>559.7354714673603</c:v>
                </c:pt>
                <c:pt idx="90">
                  <c:v>554.78464253970265</c:v>
                </c:pt>
                <c:pt idx="91">
                  <c:v>549.31303777734786</c:v>
                </c:pt>
                <c:pt idx="92">
                  <c:v>543.24058475667675</c:v>
                </c:pt>
                <c:pt idx="93">
                  <c:v>536.68930822971117</c:v>
                </c:pt>
                <c:pt idx="94">
                  <c:v>529.71669974144061</c:v>
                </c:pt>
                <c:pt idx="95">
                  <c:v>522.3059648786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92.12392214291748</c:v>
                </c:pt>
                <c:pt idx="43">
                  <c:v>302.93327749473286</c:v>
                </c:pt>
                <c:pt idx="44">
                  <c:v>314.23237269518916</c:v>
                </c:pt>
                <c:pt idx="45">
                  <c:v>325.66154833000724</c:v>
                </c:pt>
                <c:pt idx="46">
                  <c:v>336.88084141568845</c:v>
                </c:pt>
                <c:pt idx="47">
                  <c:v>348.09867187323641</c:v>
                </c:pt>
                <c:pt idx="48">
                  <c:v>359.70875525566998</c:v>
                </c:pt>
                <c:pt idx="49">
                  <c:v>371.84341644824315</c:v>
                </c:pt>
                <c:pt idx="50">
                  <c:v>384.44821886705444</c:v>
                </c:pt>
                <c:pt idx="51">
                  <c:v>397.91877056316139</c:v>
                </c:pt>
                <c:pt idx="52">
                  <c:v>411.75941609209053</c:v>
                </c:pt>
                <c:pt idx="53">
                  <c:v>425.06354634447285</c:v>
                </c:pt>
                <c:pt idx="54">
                  <c:v>438.33470976748424</c:v>
                </c:pt>
                <c:pt idx="55">
                  <c:v>451.94870525633365</c:v>
                </c:pt>
                <c:pt idx="56">
                  <c:v>465.99068829475016</c:v>
                </c:pt>
                <c:pt idx="57">
                  <c:v>480.45679038511685</c:v>
                </c:pt>
                <c:pt idx="58">
                  <c:v>495.25287632794891</c:v>
                </c:pt>
                <c:pt idx="59">
                  <c:v>510.28433287875441</c:v>
                </c:pt>
                <c:pt idx="60">
                  <c:v>525.28791477421237</c:v>
                </c:pt>
                <c:pt idx="61">
                  <c:v>540.22547271803876</c:v>
                </c:pt>
                <c:pt idx="62">
                  <c:v>555.12313073009045</c:v>
                </c:pt>
                <c:pt idx="63">
                  <c:v>569.95621550983969</c:v>
                </c:pt>
                <c:pt idx="64">
                  <c:v>584.62534289952987</c:v>
                </c:pt>
                <c:pt idx="65">
                  <c:v>599.14463385095064</c:v>
                </c:pt>
                <c:pt idx="66">
                  <c:v>613.41204765113389</c:v>
                </c:pt>
                <c:pt idx="67">
                  <c:v>627.39571715759541</c:v>
                </c:pt>
                <c:pt idx="68">
                  <c:v>640.9308612611178</c:v>
                </c:pt>
                <c:pt idx="69">
                  <c:v>654.02302854859272</c:v>
                </c:pt>
                <c:pt idx="70">
                  <c:v>666.64431495570682</c:v>
                </c:pt>
                <c:pt idx="71">
                  <c:v>678.59174859167729</c:v>
                </c:pt>
                <c:pt idx="72">
                  <c:v>689.91323509216647</c:v>
                </c:pt>
                <c:pt idx="73">
                  <c:v>700.57893904528896</c:v>
                </c:pt>
                <c:pt idx="74">
                  <c:v>710.48453617374014</c:v>
                </c:pt>
                <c:pt idx="75">
                  <c:v>719.5950144970144</c:v>
                </c:pt>
                <c:pt idx="76">
                  <c:v>727.883883898156</c:v>
                </c:pt>
                <c:pt idx="77">
                  <c:v>735.32911948848982</c:v>
                </c:pt>
                <c:pt idx="78">
                  <c:v>741.79735982040654</c:v>
                </c:pt>
                <c:pt idx="79">
                  <c:v>747.33695473417708</c:v>
                </c:pt>
                <c:pt idx="80">
                  <c:v>751.92971929873966</c:v>
                </c:pt>
                <c:pt idx="81">
                  <c:v>755.5083633899369</c:v>
                </c:pt>
                <c:pt idx="82">
                  <c:v>758.04158974148777</c:v>
                </c:pt>
                <c:pt idx="83">
                  <c:v>759.60603032055076</c:v>
                </c:pt>
                <c:pt idx="84">
                  <c:v>760.15303490741087</c:v>
                </c:pt>
                <c:pt idx="85">
                  <c:v>759.60165402208577</c:v>
                </c:pt>
                <c:pt idx="86">
                  <c:v>758.10111006142938</c:v>
                </c:pt>
                <c:pt idx="87">
                  <c:v>755.62190720350816</c:v>
                </c:pt>
                <c:pt idx="88">
                  <c:v>752.03852516810548</c:v>
                </c:pt>
                <c:pt idx="89">
                  <c:v>747.53634297384178</c:v>
                </c:pt>
                <c:pt idx="90">
                  <c:v>742.13031707566779</c:v>
                </c:pt>
                <c:pt idx="91">
                  <c:v>735.7988221035057</c:v>
                </c:pt>
                <c:pt idx="92">
                  <c:v>728.46701866953413</c:v>
                </c:pt>
                <c:pt idx="93">
                  <c:v>720.27501055249468</c:v>
                </c:pt>
                <c:pt idx="94">
                  <c:v>711.29585024818152</c:v>
                </c:pt>
                <c:pt idx="95">
                  <c:v>701.53004282607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2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3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18</c:v>
                </c:pt>
                <c:pt idx="9">
                  <c:v>19</c:v>
                </c:pt>
                <c:pt idx="10">
                  <c:v>24</c:v>
                </c:pt>
                <c:pt idx="11">
                  <c:v>28</c:v>
                </c:pt>
                <c:pt idx="12">
                  <c:v>27</c:v>
                </c:pt>
                <c:pt idx="13">
                  <c:v>30</c:v>
                </c:pt>
                <c:pt idx="14">
                  <c:v>34</c:v>
                </c:pt>
                <c:pt idx="15">
                  <c:v>40</c:v>
                </c:pt>
                <c:pt idx="16">
                  <c:v>44</c:v>
                </c:pt>
                <c:pt idx="17">
                  <c:v>56</c:v>
                </c:pt>
                <c:pt idx="18">
                  <c:v>54</c:v>
                </c:pt>
                <c:pt idx="19">
                  <c:v>69</c:v>
                </c:pt>
                <c:pt idx="20">
                  <c:v>73</c:v>
                </c:pt>
                <c:pt idx="21">
                  <c:v>79</c:v>
                </c:pt>
                <c:pt idx="22">
                  <c:v>82</c:v>
                </c:pt>
                <c:pt idx="23">
                  <c:v>87</c:v>
                </c:pt>
                <c:pt idx="24">
                  <c:v>96</c:v>
                </c:pt>
                <c:pt idx="25">
                  <c:v>106</c:v>
                </c:pt>
                <c:pt idx="26">
                  <c:v>127</c:v>
                </c:pt>
                <c:pt idx="27">
                  <c:v>127</c:v>
                </c:pt>
                <c:pt idx="28">
                  <c:v>135</c:v>
                </c:pt>
                <c:pt idx="29">
                  <c:v>156</c:v>
                </c:pt>
                <c:pt idx="30">
                  <c:v>161</c:v>
                </c:pt>
                <c:pt idx="31">
                  <c:v>191</c:v>
                </c:pt>
                <c:pt idx="32">
                  <c:v>205</c:v>
                </c:pt>
                <c:pt idx="33">
                  <c:v>203</c:v>
                </c:pt>
                <c:pt idx="34">
                  <c:v>223</c:v>
                </c:pt>
                <c:pt idx="35">
                  <c:v>228</c:v>
                </c:pt>
                <c:pt idx="36">
                  <c:v>246</c:v>
                </c:pt>
                <c:pt idx="37">
                  <c:v>263</c:v>
                </c:pt>
                <c:pt idx="38">
                  <c:v>294</c:v>
                </c:pt>
                <c:pt idx="39">
                  <c:v>308</c:v>
                </c:pt>
                <c:pt idx="40">
                  <c:v>323</c:v>
                </c:pt>
                <c:pt idx="41">
                  <c:v>326</c:v>
                </c:pt>
                <c:pt idx="42">
                  <c:v>331</c:v>
                </c:pt>
                <c:pt idx="43">
                  <c:v>321</c:v>
                </c:pt>
                <c:pt idx="44">
                  <c:v>347</c:v>
                </c:pt>
                <c:pt idx="45">
                  <c:v>410</c:v>
                </c:pt>
                <c:pt idx="46">
                  <c:v>406</c:v>
                </c:pt>
                <c:pt idx="47">
                  <c:v>416</c:v>
                </c:pt>
                <c:pt idx="48">
                  <c:v>427</c:v>
                </c:pt>
                <c:pt idx="49">
                  <c:v>457</c:v>
                </c:pt>
                <c:pt idx="50">
                  <c:v>455</c:v>
                </c:pt>
                <c:pt idx="51">
                  <c:v>473</c:v>
                </c:pt>
                <c:pt idx="52">
                  <c:v>516</c:v>
                </c:pt>
                <c:pt idx="53">
                  <c:v>521</c:v>
                </c:pt>
                <c:pt idx="54">
                  <c:v>525</c:v>
                </c:pt>
                <c:pt idx="55">
                  <c:v>547</c:v>
                </c:pt>
                <c:pt idx="56">
                  <c:v>583</c:v>
                </c:pt>
                <c:pt idx="57">
                  <c:v>594</c:v>
                </c:pt>
                <c:pt idx="58">
                  <c:v>603</c:v>
                </c:pt>
                <c:pt idx="59">
                  <c:v>680</c:v>
                </c:pt>
                <c:pt idx="60">
                  <c:v>658</c:v>
                </c:pt>
                <c:pt idx="61">
                  <c:v>654</c:v>
                </c:pt>
                <c:pt idx="62">
                  <c:v>649</c:v>
                </c:pt>
                <c:pt idx="63">
                  <c:v>672</c:v>
                </c:pt>
                <c:pt idx="64">
                  <c:v>646</c:v>
                </c:pt>
                <c:pt idx="65">
                  <c:v>659</c:v>
                </c:pt>
                <c:pt idx="66">
                  <c:v>700</c:v>
                </c:pt>
                <c:pt idx="67">
                  <c:v>684</c:v>
                </c:pt>
                <c:pt idx="68">
                  <c:v>684</c:v>
                </c:pt>
                <c:pt idx="69">
                  <c:v>680</c:v>
                </c:pt>
                <c:pt idx="70">
                  <c:v>628</c:v>
                </c:pt>
                <c:pt idx="71">
                  <c:v>602</c:v>
                </c:pt>
                <c:pt idx="72">
                  <c:v>593</c:v>
                </c:pt>
                <c:pt idx="73">
                  <c:v>630</c:v>
                </c:pt>
                <c:pt idx="74">
                  <c:v>5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1.14066954506558</c:v>
                </c:pt>
                <c:pt idx="43">
                  <c:v>342.15846369936804</c:v>
                </c:pt>
                <c:pt idx="44">
                  <c:v>353.14248984419629</c:v>
                </c:pt>
                <c:pt idx="45">
                  <c:v>363.69978902096938</c:v>
                </c:pt>
                <c:pt idx="46">
                  <c:v>373.46859476589952</c:v>
                </c:pt>
                <c:pt idx="47">
                  <c:v>382.60551505317306</c:v>
                </c:pt>
                <c:pt idx="48">
                  <c:v>391.44162828551941</c:v>
                </c:pt>
                <c:pt idx="49">
                  <c:v>400.14375051904483</c:v>
                </c:pt>
                <c:pt idx="50">
                  <c:v>408.67481913477792</c:v>
                </c:pt>
                <c:pt idx="51">
                  <c:v>417.45293375645542</c:v>
                </c:pt>
                <c:pt idx="52">
                  <c:v>425.92313955005159</c:v>
                </c:pt>
                <c:pt idx="53">
                  <c:v>433.14697490941217</c:v>
                </c:pt>
                <c:pt idx="54">
                  <c:v>439.72318960080412</c:v>
                </c:pt>
                <c:pt idx="55">
                  <c:v>446.02565457082864</c:v>
                </c:pt>
                <c:pt idx="56">
                  <c:v>452.1907817225437</c:v>
                </c:pt>
                <c:pt idx="57">
                  <c:v>458.26452481775613</c:v>
                </c:pt>
                <c:pt idx="58">
                  <c:v>464.22861502034817</c:v>
                </c:pt>
                <c:pt idx="59">
                  <c:v>470.01090508148695</c:v>
                </c:pt>
                <c:pt idx="60">
                  <c:v>475.3055820256925</c:v>
                </c:pt>
                <c:pt idx="61">
                  <c:v>480.1908894656907</c:v>
                </c:pt>
                <c:pt idx="62">
                  <c:v>484.71681935819021</c:v>
                </c:pt>
                <c:pt idx="63">
                  <c:v>488.91756182819398</c:v>
                </c:pt>
                <c:pt idx="64">
                  <c:v>492.7530567226907</c:v>
                </c:pt>
                <c:pt idx="65">
                  <c:v>496.29997474764116</c:v>
                </c:pt>
                <c:pt idx="66">
                  <c:v>499.49746492843326</c:v>
                </c:pt>
                <c:pt idx="67">
                  <c:v>502.35522948578966</c:v>
                </c:pt>
                <c:pt idx="68">
                  <c:v>504.76454967934058</c:v>
                </c:pt>
                <c:pt idx="69">
                  <c:v>506.77135064442518</c:v>
                </c:pt>
                <c:pt idx="70">
                  <c:v>508.43138543494194</c:v>
                </c:pt>
                <c:pt idx="71">
                  <c:v>509.57277084870958</c:v>
                </c:pt>
                <c:pt idx="72">
                  <c:v>510.31810356020287</c:v>
                </c:pt>
                <c:pt idx="73">
                  <c:v>510.67882646096854</c:v>
                </c:pt>
                <c:pt idx="74">
                  <c:v>510.57457009691689</c:v>
                </c:pt>
                <c:pt idx="75">
                  <c:v>510.03877708971737</c:v>
                </c:pt>
                <c:pt idx="76">
                  <c:v>509.08089473529247</c:v>
                </c:pt>
                <c:pt idx="77">
                  <c:v>507.74547230399702</c:v>
                </c:pt>
                <c:pt idx="78">
                  <c:v>505.90885544573973</c:v>
                </c:pt>
                <c:pt idx="79">
                  <c:v>503.68445615554037</c:v>
                </c:pt>
                <c:pt idx="80">
                  <c:v>501.06590968399951</c:v>
                </c:pt>
                <c:pt idx="81">
                  <c:v>497.98326879898593</c:v>
                </c:pt>
                <c:pt idx="82">
                  <c:v>494.46531329067648</c:v>
                </c:pt>
                <c:pt idx="83">
                  <c:v>490.61154013076504</c:v>
                </c:pt>
                <c:pt idx="84">
                  <c:v>486.38642509226219</c:v>
                </c:pt>
                <c:pt idx="85">
                  <c:v>481.72143463936504</c:v>
                </c:pt>
                <c:pt idx="86">
                  <c:v>476.79764616600119</c:v>
                </c:pt>
                <c:pt idx="87">
                  <c:v>471.57201784706012</c:v>
                </c:pt>
                <c:pt idx="88">
                  <c:v>465.84302880964594</c:v>
                </c:pt>
                <c:pt idx="89">
                  <c:v>459.87218192403145</c:v>
                </c:pt>
                <c:pt idx="90">
                  <c:v>453.66152674879902</c:v>
                </c:pt>
                <c:pt idx="91">
                  <c:v>447.16438113203935</c:v>
                </c:pt>
                <c:pt idx="92">
                  <c:v>440.29845334329059</c:v>
                </c:pt>
                <c:pt idx="93">
                  <c:v>433.18441010112014</c:v>
                </c:pt>
                <c:pt idx="94">
                  <c:v>425.8730906568278</c:v>
                </c:pt>
                <c:pt idx="95">
                  <c:v>418.34059889469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1.9236047037021</c:v>
                </c:pt>
                <c:pt idx="43">
                  <c:v>344.00536159922706</c:v>
                </c:pt>
                <c:pt idx="44">
                  <c:v>356.35330561765636</c:v>
                </c:pt>
                <c:pt idx="45">
                  <c:v>368.58158025473006</c:v>
                </c:pt>
                <c:pt idx="46">
                  <c:v>380.34390946098057</c:v>
                </c:pt>
                <c:pt idx="47">
                  <c:v>391.79510150609713</c:v>
                </c:pt>
                <c:pt idx="48">
                  <c:v>403.27033198733989</c:v>
                </c:pt>
                <c:pt idx="49">
                  <c:v>414.92838670028914</c:v>
                </c:pt>
                <c:pt idx="50">
                  <c:v>426.73044175861492</c:v>
                </c:pt>
                <c:pt idx="51">
                  <c:v>439.08404428007486</c:v>
                </c:pt>
                <c:pt idx="52">
                  <c:v>451.42793528879747</c:v>
                </c:pt>
                <c:pt idx="53">
                  <c:v>462.81143856098811</c:v>
                </c:pt>
                <c:pt idx="54">
                  <c:v>473.82326159517288</c:v>
                </c:pt>
                <c:pt idx="55">
                  <c:v>484.81958713406038</c:v>
                </c:pt>
                <c:pt idx="56">
                  <c:v>495.91236028427886</c:v>
                </c:pt>
                <c:pt idx="57">
                  <c:v>507.10362460316031</c:v>
                </c:pt>
                <c:pt idx="58">
                  <c:v>518.36085839211682</c:v>
                </c:pt>
                <c:pt idx="59">
                  <c:v>529.59036097926662</c:v>
                </c:pt>
                <c:pt idx="60">
                  <c:v>540.47143551786405</c:v>
                </c:pt>
                <c:pt idx="61">
                  <c:v>551.05325757158732</c:v>
                </c:pt>
                <c:pt idx="62">
                  <c:v>561.36413723359192</c:v>
                </c:pt>
                <c:pt idx="63">
                  <c:v>571.41289775779308</c:v>
                </c:pt>
                <c:pt idx="64">
                  <c:v>581.12815269416137</c:v>
                </c:pt>
                <c:pt idx="65">
                  <c:v>590.55986277343902</c:v>
                </c:pt>
                <c:pt idx="66">
                  <c:v>599.62515117111434</c:v>
                </c:pt>
                <c:pt idx="67">
                  <c:v>608.30820053277716</c:v>
                </c:pt>
                <c:pt idx="68">
                  <c:v>616.47753238344228</c:v>
                </c:pt>
                <c:pt idx="69">
                  <c:v>624.15533816094012</c:v>
                </c:pt>
                <c:pt idx="70">
                  <c:v>631.37279406782613</c:v>
                </c:pt>
                <c:pt idx="71">
                  <c:v>637.93447428348645</c:v>
                </c:pt>
                <c:pt idx="72">
                  <c:v>643.93885291826678</c:v>
                </c:pt>
                <c:pt idx="73">
                  <c:v>649.37620328799903</c:v>
                </c:pt>
                <c:pt idx="74">
                  <c:v>654.14637126941898</c:v>
                </c:pt>
                <c:pt idx="75">
                  <c:v>658.26348049337821</c:v>
                </c:pt>
                <c:pt idx="76">
                  <c:v>661.71891038788692</c:v>
                </c:pt>
                <c:pt idx="77">
                  <c:v>664.54174871459918</c:v>
                </c:pt>
                <c:pt idx="78">
                  <c:v>666.5928602166249</c:v>
                </c:pt>
                <c:pt idx="79">
                  <c:v>667.97301691104076</c:v>
                </c:pt>
                <c:pt idx="80">
                  <c:v>668.66435984035911</c:v>
                </c:pt>
                <c:pt idx="81">
                  <c:v>668.58712725421526</c:v>
                </c:pt>
                <c:pt idx="82">
                  <c:v>667.76125421412303</c:v>
                </c:pt>
                <c:pt idx="83">
                  <c:v>666.28035500121632</c:v>
                </c:pt>
                <c:pt idx="84">
                  <c:v>664.10429794704328</c:v>
                </c:pt>
                <c:pt idx="85">
                  <c:v>661.16168878748931</c:v>
                </c:pt>
                <c:pt idx="86">
                  <c:v>657.63246817201798</c:v>
                </c:pt>
                <c:pt idx="87">
                  <c:v>653.47411024809549</c:v>
                </c:pt>
                <c:pt idx="88">
                  <c:v>648.48645682941083</c:v>
                </c:pt>
                <c:pt idx="89">
                  <c:v>642.93513792590625</c:v>
                </c:pt>
                <c:pt idx="90">
                  <c:v>636.82656591427281</c:v>
                </c:pt>
                <c:pt idx="91">
                  <c:v>630.12028603246506</c:v>
                </c:pt>
                <c:pt idx="92">
                  <c:v>622.73147414760842</c:v>
                </c:pt>
                <c:pt idx="93">
                  <c:v>614.79627203772475</c:v>
                </c:pt>
                <c:pt idx="94">
                  <c:v>606.37514522341291</c:v>
                </c:pt>
                <c:pt idx="95">
                  <c:v>597.4548504234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2.71151483220348</c:v>
                </c:pt>
                <c:pt idx="43">
                  <c:v>345.87002850620121</c:v>
                </c:pt>
                <c:pt idx="44">
                  <c:v>359.60749455252591</c:v>
                </c:pt>
                <c:pt idx="45">
                  <c:v>373.55088113431674</c:v>
                </c:pt>
                <c:pt idx="46">
                  <c:v>387.37572867975445</c:v>
                </c:pt>
                <c:pt idx="47">
                  <c:v>401.24173019635896</c:v>
                </c:pt>
                <c:pt idx="48">
                  <c:v>415.49512986393063</c:v>
                </c:pt>
                <c:pt idx="49">
                  <c:v>430.29372512036468</c:v>
                </c:pt>
                <c:pt idx="50">
                  <c:v>445.60392084017894</c:v>
                </c:pt>
                <c:pt idx="51">
                  <c:v>461.82946225101483</c:v>
                </c:pt>
                <c:pt idx="52">
                  <c:v>478.40917908363235</c:v>
                </c:pt>
                <c:pt idx="53">
                  <c:v>494.38600006236339</c:v>
                </c:pt>
                <c:pt idx="54">
                  <c:v>510.34374078047495</c:v>
                </c:pt>
                <c:pt idx="55">
                  <c:v>526.62520556762092</c:v>
                </c:pt>
                <c:pt idx="56">
                  <c:v>543.32125396225013</c:v>
                </c:pt>
                <c:pt idx="57">
                  <c:v>560.39217889299334</c:v>
                </c:pt>
                <c:pt idx="58">
                  <c:v>577.79227101522497</c:v>
                </c:pt>
                <c:pt idx="59">
                  <c:v>595.40608485033681</c:v>
                </c:pt>
                <c:pt idx="60">
                  <c:v>612.89649967080891</c:v>
                </c:pt>
                <c:pt idx="61">
                  <c:v>630.28063650316278</c:v>
                </c:pt>
                <c:pt idx="62">
                  <c:v>647.56072166027707</c:v>
                </c:pt>
                <c:pt idx="63">
                  <c:v>664.71440841816957</c:v>
                </c:pt>
                <c:pt idx="64">
                  <c:v>681.63177427266669</c:v>
                </c:pt>
                <c:pt idx="65">
                  <c:v>698.32768345194472</c:v>
                </c:pt>
                <c:pt idx="66">
                  <c:v>714.68775455006926</c:v>
                </c:pt>
                <c:pt idx="67">
                  <c:v>730.65995101854855</c:v>
                </c:pt>
                <c:pt idx="68">
                  <c:v>746.07829738523435</c:v>
                </c:pt>
                <c:pt idx="69">
                  <c:v>760.92861147029566</c:v>
                </c:pt>
                <c:pt idx="70">
                  <c:v>775.20412704771229</c:v>
                </c:pt>
                <c:pt idx="71">
                  <c:v>788.67195394555063</c:v>
                </c:pt>
                <c:pt idx="72">
                  <c:v>801.39221224547191</c:v>
                </c:pt>
                <c:pt idx="73">
                  <c:v>813.31964630970037</c:v>
                </c:pt>
                <c:pt idx="74">
                  <c:v>824.31998103438787</c:v>
                </c:pt>
                <c:pt idx="75">
                  <c:v>834.37389659367898</c:v>
                </c:pt>
                <c:pt idx="76">
                  <c:v>843.4409916969023</c:v>
                </c:pt>
                <c:pt idx="77">
                  <c:v>851.52178815771242</c:v>
                </c:pt>
                <c:pt idx="78">
                  <c:v>858.44935015294368</c:v>
                </c:pt>
                <c:pt idx="79">
                  <c:v>864.30044963641217</c:v>
                </c:pt>
                <c:pt idx="80">
                  <c:v>869.0354721395147</c:v>
                </c:pt>
                <c:pt idx="81">
                  <c:v>872.55581196862408</c:v>
                </c:pt>
                <c:pt idx="82">
                  <c:v>874.86487711390214</c:v>
                </c:pt>
                <c:pt idx="83">
                  <c:v>876.04416489615846</c:v>
                </c:pt>
                <c:pt idx="84">
                  <c:v>876.04421822899315</c:v>
                </c:pt>
                <c:pt idx="85">
                  <c:v>874.78762622488057</c:v>
                </c:pt>
                <c:pt idx="86">
                  <c:v>872.45162036491342</c:v>
                </c:pt>
                <c:pt idx="87">
                  <c:v>868.99419593976813</c:v>
                </c:pt>
                <c:pt idx="88">
                  <c:v>864.21811122500367</c:v>
                </c:pt>
                <c:pt idx="89">
                  <c:v>858.3961883798886</c:v>
                </c:pt>
                <c:pt idx="90">
                  <c:v>851.54370630090193</c:v>
                </c:pt>
                <c:pt idx="91">
                  <c:v>843.63230019816353</c:v>
                </c:pt>
                <c:pt idx="92">
                  <c:v>834.58167086686922</c:v>
                </c:pt>
                <c:pt idx="93">
                  <c:v>824.5516591259136</c:v>
                </c:pt>
                <c:pt idx="94">
                  <c:v>813.62156827265733</c:v>
                </c:pt>
                <c:pt idx="95">
                  <c:v>801.79888850348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6</c:v>
                </c:pt>
                <c:pt idx="1">
                  <c:v>49</c:v>
                </c:pt>
                <c:pt idx="2">
                  <c:v>49</c:v>
                </c:pt>
                <c:pt idx="3">
                  <c:v>60</c:v>
                </c:pt>
                <c:pt idx="4">
                  <c:v>56</c:v>
                </c:pt>
                <c:pt idx="5">
                  <c:v>56</c:v>
                </c:pt>
                <c:pt idx="6">
                  <c:v>62</c:v>
                </c:pt>
                <c:pt idx="7">
                  <c:v>62</c:v>
                </c:pt>
                <c:pt idx="8">
                  <c:v>60</c:v>
                </c:pt>
                <c:pt idx="9">
                  <c:v>59</c:v>
                </c:pt>
                <c:pt idx="10">
                  <c:v>66</c:v>
                </c:pt>
                <c:pt idx="11">
                  <c:v>71</c:v>
                </c:pt>
                <c:pt idx="12">
                  <c:v>88</c:v>
                </c:pt>
                <c:pt idx="13">
                  <c:v>87</c:v>
                </c:pt>
                <c:pt idx="14">
                  <c:v>93</c:v>
                </c:pt>
                <c:pt idx="15">
                  <c:v>96</c:v>
                </c:pt>
                <c:pt idx="16">
                  <c:v>100</c:v>
                </c:pt>
                <c:pt idx="17">
                  <c:v>114</c:v>
                </c:pt>
                <c:pt idx="18">
                  <c:v>146</c:v>
                </c:pt>
                <c:pt idx="19">
                  <c:v>143</c:v>
                </c:pt>
                <c:pt idx="20">
                  <c:v>166</c:v>
                </c:pt>
                <c:pt idx="21">
                  <c:v>180</c:v>
                </c:pt>
                <c:pt idx="22">
                  <c:v>188</c:v>
                </c:pt>
                <c:pt idx="23">
                  <c:v>198</c:v>
                </c:pt>
                <c:pt idx="24">
                  <c:v>242</c:v>
                </c:pt>
                <c:pt idx="25">
                  <c:v>290</c:v>
                </c:pt>
                <c:pt idx="26">
                  <c:v>308</c:v>
                </c:pt>
                <c:pt idx="27">
                  <c:v>319</c:v>
                </c:pt>
                <c:pt idx="28">
                  <c:v>340</c:v>
                </c:pt>
                <c:pt idx="29">
                  <c:v>342</c:v>
                </c:pt>
                <c:pt idx="30">
                  <c:v>356</c:v>
                </c:pt>
                <c:pt idx="31">
                  <c:v>437</c:v>
                </c:pt>
                <c:pt idx="32">
                  <c:v>522</c:v>
                </c:pt>
                <c:pt idx="33">
                  <c:v>570</c:v>
                </c:pt>
                <c:pt idx="34">
                  <c:v>575</c:v>
                </c:pt>
                <c:pt idx="35">
                  <c:v>595</c:v>
                </c:pt>
                <c:pt idx="36">
                  <c:v>591</c:v>
                </c:pt>
                <c:pt idx="37">
                  <c:v>606</c:v>
                </c:pt>
                <c:pt idx="38">
                  <c:v>684</c:v>
                </c:pt>
                <c:pt idx="39">
                  <c:v>702</c:v>
                </c:pt>
                <c:pt idx="40">
                  <c:v>697</c:v>
                </c:pt>
                <c:pt idx="41">
                  <c:v>712</c:v>
                </c:pt>
                <c:pt idx="42">
                  <c:v>754</c:v>
                </c:pt>
                <c:pt idx="43">
                  <c:v>739</c:v>
                </c:pt>
                <c:pt idx="44">
                  <c:v>751</c:v>
                </c:pt>
                <c:pt idx="45">
                  <c:v>835</c:v>
                </c:pt>
                <c:pt idx="46">
                  <c:v>806</c:v>
                </c:pt>
                <c:pt idx="47">
                  <c:v>795</c:v>
                </c:pt>
                <c:pt idx="48">
                  <c:v>841</c:v>
                </c:pt>
                <c:pt idx="49">
                  <c:v>819</c:v>
                </c:pt>
                <c:pt idx="50">
                  <c:v>815</c:v>
                </c:pt>
                <c:pt idx="51">
                  <c:v>852</c:v>
                </c:pt>
                <c:pt idx="52">
                  <c:v>915</c:v>
                </c:pt>
                <c:pt idx="53">
                  <c:v>938</c:v>
                </c:pt>
                <c:pt idx="54">
                  <c:v>982</c:v>
                </c:pt>
                <c:pt idx="55">
                  <c:v>956</c:v>
                </c:pt>
                <c:pt idx="56">
                  <c:v>962</c:v>
                </c:pt>
                <c:pt idx="57">
                  <c:v>926</c:v>
                </c:pt>
                <c:pt idx="58">
                  <c:v>964</c:v>
                </c:pt>
                <c:pt idx="59">
                  <c:v>1056</c:v>
                </c:pt>
                <c:pt idx="60">
                  <c:v>1054</c:v>
                </c:pt>
                <c:pt idx="61">
                  <c:v>1042</c:v>
                </c:pt>
                <c:pt idx="62">
                  <c:v>1053</c:v>
                </c:pt>
                <c:pt idx="63">
                  <c:v>1037</c:v>
                </c:pt>
                <c:pt idx="64">
                  <c:v>966</c:v>
                </c:pt>
                <c:pt idx="65">
                  <c:v>959</c:v>
                </c:pt>
                <c:pt idx="66">
                  <c:v>1026</c:v>
                </c:pt>
                <c:pt idx="67">
                  <c:v>996</c:v>
                </c:pt>
                <c:pt idx="68">
                  <c:v>985</c:v>
                </c:pt>
                <c:pt idx="69">
                  <c:v>951</c:v>
                </c:pt>
                <c:pt idx="70">
                  <c:v>911</c:v>
                </c:pt>
                <c:pt idx="71">
                  <c:v>820</c:v>
                </c:pt>
                <c:pt idx="72">
                  <c:v>828</c:v>
                </c:pt>
                <c:pt idx="73">
                  <c:v>848</c:v>
                </c:pt>
                <c:pt idx="74">
                  <c:v>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07.039178623834</c:v>
                </c:pt>
                <c:pt idx="43">
                  <c:v>626.53171139132905</c:v>
                </c:pt>
                <c:pt idx="44">
                  <c:v>645.97545060211144</c:v>
                </c:pt>
                <c:pt idx="45">
                  <c:v>664.60930023323886</c:v>
                </c:pt>
                <c:pt idx="46">
                  <c:v>681.71060538823747</c:v>
                </c:pt>
                <c:pt idx="47">
                  <c:v>697.63843157104873</c:v>
                </c:pt>
                <c:pt idx="48">
                  <c:v>713.09876254978917</c:v>
                </c:pt>
                <c:pt idx="49">
                  <c:v>728.38725631262048</c:v>
                </c:pt>
                <c:pt idx="50">
                  <c:v>743.40472829689998</c:v>
                </c:pt>
                <c:pt idx="51">
                  <c:v>758.96002501721648</c:v>
                </c:pt>
                <c:pt idx="52">
                  <c:v>774.02754398278364</c:v>
                </c:pt>
                <c:pt idx="53">
                  <c:v>786.81027966577335</c:v>
                </c:pt>
                <c:pt idx="54">
                  <c:v>798.3941873883748</c:v>
                </c:pt>
                <c:pt idx="55">
                  <c:v>809.54193260131933</c:v>
                </c:pt>
                <c:pt idx="56">
                  <c:v>820.50440402450317</c:v>
                </c:pt>
                <c:pt idx="57">
                  <c:v>831.39954983673124</c:v>
                </c:pt>
                <c:pt idx="58">
                  <c:v>842.13044461623883</c:v>
                </c:pt>
                <c:pt idx="59">
                  <c:v>852.56979417156367</c:v>
                </c:pt>
                <c:pt idx="60">
                  <c:v>862.19089107443506</c:v>
                </c:pt>
                <c:pt idx="61">
                  <c:v>871.07481733367445</c:v>
                </c:pt>
                <c:pt idx="62">
                  <c:v>879.3377853078041</c:v>
                </c:pt>
                <c:pt idx="63">
                  <c:v>887.03727630712956</c:v>
                </c:pt>
                <c:pt idx="64">
                  <c:v>894.09118357973625</c:v>
                </c:pt>
                <c:pt idx="65">
                  <c:v>900.64130895047128</c:v>
                </c:pt>
                <c:pt idx="66">
                  <c:v>906.57290080293819</c:v>
                </c:pt>
                <c:pt idx="67">
                  <c:v>911.91838664099851</c:v>
                </c:pt>
                <c:pt idx="68">
                  <c:v>916.4561795369184</c:v>
                </c:pt>
                <c:pt idx="69">
                  <c:v>920.2898364826317</c:v>
                </c:pt>
                <c:pt idx="70">
                  <c:v>923.49633690096198</c:v>
                </c:pt>
                <c:pt idx="71">
                  <c:v>925.76145561631927</c:v>
                </c:pt>
                <c:pt idx="72">
                  <c:v>927.3044886413943</c:v>
                </c:pt>
                <c:pt idx="73">
                  <c:v>928.1562101704526</c:v>
                </c:pt>
                <c:pt idx="74">
                  <c:v>928.18603819082864</c:v>
                </c:pt>
                <c:pt idx="75">
                  <c:v>927.43544560976625</c:v>
                </c:pt>
                <c:pt idx="76">
                  <c:v>925.93273477057528</c:v>
                </c:pt>
                <c:pt idx="77">
                  <c:v>923.73484661273164</c:v>
                </c:pt>
                <c:pt idx="78">
                  <c:v>920.6308205768762</c:v>
                </c:pt>
                <c:pt idx="79">
                  <c:v>916.8085870525847</c:v>
                </c:pt>
                <c:pt idx="80">
                  <c:v>912.27678626749525</c:v>
                </c:pt>
                <c:pt idx="81">
                  <c:v>906.9307404750474</c:v>
                </c:pt>
                <c:pt idx="82">
                  <c:v>900.78587746727158</c:v>
                </c:pt>
                <c:pt idx="83">
                  <c:v>894.03255464600943</c:v>
                </c:pt>
                <c:pt idx="84">
                  <c:v>886.60184670674903</c:v>
                </c:pt>
                <c:pt idx="85">
                  <c:v>878.35564566533264</c:v>
                </c:pt>
                <c:pt idx="86">
                  <c:v>869.62087250974309</c:v>
                </c:pt>
                <c:pt idx="87">
                  <c:v>860.32928374458584</c:v>
                </c:pt>
                <c:pt idx="88">
                  <c:v>850.16731555387787</c:v>
                </c:pt>
                <c:pt idx="89">
                  <c:v>839.55557679035201</c:v>
                </c:pt>
                <c:pt idx="90">
                  <c:v>828.50141357821599</c:v>
                </c:pt>
                <c:pt idx="91">
                  <c:v>816.92501732086339</c:v>
                </c:pt>
                <c:pt idx="92">
                  <c:v>804.66712438824356</c:v>
                </c:pt>
                <c:pt idx="93">
                  <c:v>791.95415591487813</c:v>
                </c:pt>
                <c:pt idx="94">
                  <c:v>778.88478471940664</c:v>
                </c:pt>
                <c:pt idx="95">
                  <c:v>765.40985445448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08.42351247359659</c:v>
                </c:pt>
                <c:pt idx="43">
                  <c:v>629.79670252302378</c:v>
                </c:pt>
                <c:pt idx="44">
                  <c:v>651.65421811369424</c:v>
                </c:pt>
                <c:pt idx="45">
                  <c:v>673.25040030444393</c:v>
                </c:pt>
                <c:pt idx="46">
                  <c:v>693.88980061394386</c:v>
                </c:pt>
                <c:pt idx="47">
                  <c:v>713.9308990417702</c:v>
                </c:pt>
                <c:pt idx="48">
                  <c:v>734.08848065950019</c:v>
                </c:pt>
                <c:pt idx="49">
                  <c:v>754.64514077982813</c:v>
                </c:pt>
                <c:pt idx="50">
                  <c:v>775.50009260445347</c:v>
                </c:pt>
                <c:pt idx="51">
                  <c:v>797.44489746271233</c:v>
                </c:pt>
                <c:pt idx="52">
                  <c:v>819.44498762888509</c:v>
                </c:pt>
                <c:pt idx="53">
                  <c:v>839.68194415530832</c:v>
                </c:pt>
                <c:pt idx="54">
                  <c:v>859.22389447013666</c:v>
                </c:pt>
                <c:pt idx="55">
                  <c:v>878.80459270299139</c:v>
                </c:pt>
                <c:pt idx="56">
                  <c:v>898.63256526762552</c:v>
                </c:pt>
                <c:pt idx="57">
                  <c:v>918.74577793233789</c:v>
                </c:pt>
                <c:pt idx="58">
                  <c:v>939.02216646062357</c:v>
                </c:pt>
                <c:pt idx="59">
                  <c:v>959.29604677195061</c:v>
                </c:pt>
                <c:pt idx="60">
                  <c:v>979.01478529144447</c:v>
                </c:pt>
                <c:pt idx="61">
                  <c:v>998.20699504162326</c:v>
                </c:pt>
                <c:pt idx="62">
                  <c:v>1016.9502173121192</c:v>
                </c:pt>
                <c:pt idx="63">
                  <c:v>1035.2548584316692</c:v>
                </c:pt>
                <c:pt idx="64">
                  <c:v>1052.983779597344</c:v>
                </c:pt>
                <c:pt idx="65">
                  <c:v>1070.2294666691243</c:v>
                </c:pt>
                <c:pt idx="66">
                  <c:v>1086.8371755673586</c:v>
                </c:pt>
                <c:pt idx="67">
                  <c:v>1102.7927441318145</c:v>
                </c:pt>
                <c:pt idx="68">
                  <c:v>1117.8329655981033</c:v>
                </c:pt>
                <c:pt idx="69">
                  <c:v>1132.0181148957975</c:v>
                </c:pt>
                <c:pt idx="70">
                  <c:v>1145.3800696303467</c:v>
                </c:pt>
                <c:pt idx="71">
                  <c:v>1157.5616871772359</c:v>
                </c:pt>
                <c:pt idx="72">
                  <c:v>1168.7378193754673</c:v>
                </c:pt>
                <c:pt idx="73">
                  <c:v>1178.9010001703482</c:v>
                </c:pt>
                <c:pt idx="74">
                  <c:v>1187.8836043276278</c:v>
                </c:pt>
                <c:pt idx="75">
                  <c:v>1195.6913542841826</c:v>
                </c:pt>
                <c:pt idx="76">
                  <c:v>1202.3190216570638</c:v>
                </c:pt>
                <c:pt idx="77">
                  <c:v>1207.7948980398642</c:v>
                </c:pt>
                <c:pt idx="78">
                  <c:v>1211.8793692953814</c:v>
                </c:pt>
                <c:pt idx="79">
                  <c:v>1214.7365301295295</c:v>
                </c:pt>
                <c:pt idx="80">
                  <c:v>1216.3533658372535</c:v>
                </c:pt>
                <c:pt idx="81">
                  <c:v>1216.6065735463615</c:v>
                </c:pt>
                <c:pt idx="82">
                  <c:v>1215.4948994152214</c:v>
                </c:pt>
                <c:pt idx="83">
                  <c:v>1213.1970831929789</c:v>
                </c:pt>
                <c:pt idx="84">
                  <c:v>1209.6350247265125</c:v>
                </c:pt>
                <c:pt idx="85">
                  <c:v>1204.6646208789439</c:v>
                </c:pt>
                <c:pt idx="86">
                  <c:v>1198.6099409343688</c:v>
                </c:pt>
                <c:pt idx="87">
                  <c:v>1191.402910799769</c:v>
                </c:pt>
                <c:pt idx="88">
                  <c:v>1182.7318918067385</c:v>
                </c:pt>
                <c:pt idx="89">
                  <c:v>1173.024156644286</c:v>
                </c:pt>
                <c:pt idx="90">
                  <c:v>1162.2944981523406</c:v>
                </c:pt>
                <c:pt idx="91">
                  <c:v>1150.4738626168189</c:v>
                </c:pt>
                <c:pt idx="92">
                  <c:v>1137.4004500352339</c:v>
                </c:pt>
                <c:pt idx="93">
                  <c:v>1123.3266074660814</c:v>
                </c:pt>
                <c:pt idx="94">
                  <c:v>1108.3681387294466</c:v>
                </c:pt>
                <c:pt idx="95">
                  <c:v>1092.4949276842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09.81667543085155</c:v>
                </c:pt>
                <c:pt idx="43">
                  <c:v>633.0931892764454</c:v>
                </c:pt>
                <c:pt idx="44">
                  <c:v>657.40982848102635</c:v>
                </c:pt>
                <c:pt idx="45">
                  <c:v>682.0465347103825</c:v>
                </c:pt>
                <c:pt idx="46">
                  <c:v>706.34632181605059</c:v>
                </c:pt>
                <c:pt idx="47">
                  <c:v>730.67902167629939</c:v>
                </c:pt>
                <c:pt idx="48">
                  <c:v>755.7807062942436</c:v>
                </c:pt>
                <c:pt idx="49">
                  <c:v>781.93356045315045</c:v>
                </c:pt>
                <c:pt idx="50">
                  <c:v>809.04780464152759</c:v>
                </c:pt>
                <c:pt idx="51">
                  <c:v>837.90994843377848</c:v>
                </c:pt>
                <c:pt idx="52">
                  <c:v>867.48811247762796</c:v>
                </c:pt>
                <c:pt idx="53">
                  <c:v>895.95314234879811</c:v>
                </c:pt>
                <c:pt idx="54">
                  <c:v>924.36486418772256</c:v>
                </c:pt>
                <c:pt idx="55">
                  <c:v>953.43619900732494</c:v>
                </c:pt>
                <c:pt idx="56">
                  <c:v>983.33976455184859</c:v>
                </c:pt>
                <c:pt idx="57">
                  <c:v>1014.0378344701837</c:v>
                </c:pt>
                <c:pt idx="58">
                  <c:v>1045.3855593744861</c:v>
                </c:pt>
                <c:pt idx="59">
                  <c:v>1077.1789751678257</c:v>
                </c:pt>
                <c:pt idx="60">
                  <c:v>1108.8372202225125</c:v>
                </c:pt>
                <c:pt idx="61">
                  <c:v>1140.3315325892031</c:v>
                </c:pt>
                <c:pt idx="62">
                  <c:v>1171.6933255648519</c:v>
                </c:pt>
                <c:pt idx="63">
                  <c:v>1202.8759265363849</c:v>
                </c:pt>
                <c:pt idx="64">
                  <c:v>1233.6746150014751</c:v>
                </c:pt>
                <c:pt idx="65">
                  <c:v>1264.1178452133304</c:v>
                </c:pt>
                <c:pt idx="66">
                  <c:v>1293.9941471990942</c:v>
                </c:pt>
                <c:pt idx="67">
                  <c:v>1323.223775279539</c:v>
                </c:pt>
                <c:pt idx="68">
                  <c:v>1351.480971280849</c:v>
                </c:pt>
                <c:pt idx="69">
                  <c:v>1378.760097866148</c:v>
                </c:pt>
                <c:pt idx="70">
                  <c:v>1405.0239154584835</c:v>
                </c:pt>
                <c:pt idx="71">
                  <c:v>1429.8472721412834</c:v>
                </c:pt>
                <c:pt idx="72">
                  <c:v>1453.3348410010365</c:v>
                </c:pt>
                <c:pt idx="73">
                  <c:v>1475.4148695683598</c:v>
                </c:pt>
                <c:pt idx="74">
                  <c:v>1495.856595924424</c:v>
                </c:pt>
                <c:pt idx="75">
                  <c:v>1514.6041979807587</c:v>
                </c:pt>
                <c:pt idx="76">
                  <c:v>1531.593783775656</c:v>
                </c:pt>
                <c:pt idx="77">
                  <c:v>1546.8008839272472</c:v>
                </c:pt>
                <c:pt idx="78">
                  <c:v>1559.9344657311858</c:v>
                </c:pt>
                <c:pt idx="79">
                  <c:v>1571.113691175161</c:v>
                </c:pt>
                <c:pt idx="80">
                  <c:v>1580.2847214116878</c:v>
                </c:pt>
                <c:pt idx="81">
                  <c:v>1587.2886361128039</c:v>
                </c:pt>
                <c:pt idx="82">
                  <c:v>1592.0929040918074</c:v>
                </c:pt>
                <c:pt idx="83">
                  <c:v>1594.8526402626644</c:v>
                </c:pt>
                <c:pt idx="84">
                  <c:v>1595.4712857628697</c:v>
                </c:pt>
                <c:pt idx="85">
                  <c:v>1593.7922754111537</c:v>
                </c:pt>
                <c:pt idx="86">
                  <c:v>1590.1332265865981</c:v>
                </c:pt>
                <c:pt idx="87">
                  <c:v>1584.4255014392581</c:v>
                </c:pt>
                <c:pt idx="88">
                  <c:v>1576.3614796373963</c:v>
                </c:pt>
                <c:pt idx="89">
                  <c:v>1566.3799579674289</c:v>
                </c:pt>
                <c:pt idx="90">
                  <c:v>1554.5106838387796</c:v>
                </c:pt>
                <c:pt idx="91">
                  <c:v>1540.7053766972781</c:v>
                </c:pt>
                <c:pt idx="92">
                  <c:v>1524.8119551789787</c:v>
                </c:pt>
                <c:pt idx="93">
                  <c:v>1507.1231174365821</c:v>
                </c:pt>
                <c:pt idx="94">
                  <c:v>1487.7880875585654</c:v>
                </c:pt>
                <c:pt idx="95">
                  <c:v>1466.813728029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01</c:v>
                </c:pt>
                <c:pt idx="1">
                  <c:v>628</c:v>
                </c:pt>
                <c:pt idx="2">
                  <c:v>653</c:v>
                </c:pt>
                <c:pt idx="3">
                  <c:v>706</c:v>
                </c:pt>
                <c:pt idx="4">
                  <c:v>746</c:v>
                </c:pt>
                <c:pt idx="5">
                  <c:v>800</c:v>
                </c:pt>
                <c:pt idx="6">
                  <c:v>839</c:v>
                </c:pt>
                <c:pt idx="7">
                  <c:v>890</c:v>
                </c:pt>
                <c:pt idx="8">
                  <c:v>920</c:v>
                </c:pt>
                <c:pt idx="9">
                  <c:v>954</c:v>
                </c:pt>
                <c:pt idx="10">
                  <c:v>1034</c:v>
                </c:pt>
                <c:pt idx="11">
                  <c:v>1097</c:v>
                </c:pt>
                <c:pt idx="12">
                  <c:v>1162</c:v>
                </c:pt>
                <c:pt idx="13">
                  <c:v>1221</c:v>
                </c:pt>
                <c:pt idx="14">
                  <c:v>1304</c:v>
                </c:pt>
                <c:pt idx="15">
                  <c:v>1374</c:v>
                </c:pt>
                <c:pt idx="16">
                  <c:v>1427</c:v>
                </c:pt>
                <c:pt idx="17">
                  <c:v>1562</c:v>
                </c:pt>
                <c:pt idx="18">
                  <c:v>1712</c:v>
                </c:pt>
                <c:pt idx="19">
                  <c:v>1829</c:v>
                </c:pt>
                <c:pt idx="20">
                  <c:v>1963</c:v>
                </c:pt>
                <c:pt idx="21">
                  <c:v>2127</c:v>
                </c:pt>
                <c:pt idx="22">
                  <c:v>2239</c:v>
                </c:pt>
                <c:pt idx="23">
                  <c:v>2350</c:v>
                </c:pt>
                <c:pt idx="24">
                  <c:v>2570</c:v>
                </c:pt>
                <c:pt idx="25">
                  <c:v>2833</c:v>
                </c:pt>
                <c:pt idx="26">
                  <c:v>3072</c:v>
                </c:pt>
                <c:pt idx="27">
                  <c:v>3242</c:v>
                </c:pt>
                <c:pt idx="28">
                  <c:v>3514</c:v>
                </c:pt>
                <c:pt idx="29">
                  <c:v>3703</c:v>
                </c:pt>
                <c:pt idx="30">
                  <c:v>3907</c:v>
                </c:pt>
                <c:pt idx="31">
                  <c:v>4322</c:v>
                </c:pt>
                <c:pt idx="32">
                  <c:v>4716</c:v>
                </c:pt>
                <c:pt idx="33">
                  <c:v>5102</c:v>
                </c:pt>
                <c:pt idx="34">
                  <c:v>5489</c:v>
                </c:pt>
                <c:pt idx="35">
                  <c:v>5854</c:v>
                </c:pt>
                <c:pt idx="36">
                  <c:v>6134</c:v>
                </c:pt>
                <c:pt idx="37">
                  <c:v>6412</c:v>
                </c:pt>
                <c:pt idx="38">
                  <c:v>6949</c:v>
                </c:pt>
                <c:pt idx="39">
                  <c:v>7501</c:v>
                </c:pt>
                <c:pt idx="40">
                  <c:v>7972</c:v>
                </c:pt>
                <c:pt idx="41">
                  <c:v>8465</c:v>
                </c:pt>
                <c:pt idx="42">
                  <c:v>9000</c:v>
                </c:pt>
                <c:pt idx="43">
                  <c:v>9381</c:v>
                </c:pt>
                <c:pt idx="44">
                  <c:v>9725</c:v>
                </c:pt>
                <c:pt idx="45">
                  <c:v>10465</c:v>
                </c:pt>
                <c:pt idx="46">
                  <c:v>11122</c:v>
                </c:pt>
                <c:pt idx="47">
                  <c:v>11597</c:v>
                </c:pt>
                <c:pt idx="48">
                  <c:v>12236</c:v>
                </c:pt>
                <c:pt idx="49">
                  <c:v>12937</c:v>
                </c:pt>
                <c:pt idx="50">
                  <c:v>13434</c:v>
                </c:pt>
                <c:pt idx="51">
                  <c:v>13935</c:v>
                </c:pt>
                <c:pt idx="52">
                  <c:v>14793</c:v>
                </c:pt>
                <c:pt idx="53">
                  <c:v>15550</c:v>
                </c:pt>
                <c:pt idx="54">
                  <c:v>16272</c:v>
                </c:pt>
                <c:pt idx="55">
                  <c:v>16999</c:v>
                </c:pt>
                <c:pt idx="56">
                  <c:v>17774</c:v>
                </c:pt>
                <c:pt idx="57">
                  <c:v>18303</c:v>
                </c:pt>
                <c:pt idx="58">
                  <c:v>18797</c:v>
                </c:pt>
                <c:pt idx="59">
                  <c:v>19625</c:v>
                </c:pt>
                <c:pt idx="60">
                  <c:v>20371</c:v>
                </c:pt>
                <c:pt idx="61">
                  <c:v>21076</c:v>
                </c:pt>
                <c:pt idx="62">
                  <c:v>21816</c:v>
                </c:pt>
                <c:pt idx="63">
                  <c:v>22473</c:v>
                </c:pt>
                <c:pt idx="64">
                  <c:v>22918</c:v>
                </c:pt>
                <c:pt idx="65">
                  <c:v>23380</c:v>
                </c:pt>
                <c:pt idx="66">
                  <c:v>24125</c:v>
                </c:pt>
                <c:pt idx="67">
                  <c:v>24768</c:v>
                </c:pt>
                <c:pt idx="68">
                  <c:v>25393</c:v>
                </c:pt>
                <c:pt idx="69">
                  <c:v>25954</c:v>
                </c:pt>
                <c:pt idx="70">
                  <c:v>26588</c:v>
                </c:pt>
                <c:pt idx="71">
                  <c:v>26963</c:v>
                </c:pt>
                <c:pt idx="72">
                  <c:v>27303</c:v>
                </c:pt>
                <c:pt idx="73">
                  <c:v>27929</c:v>
                </c:pt>
                <c:pt idx="74">
                  <c:v>2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841.1919281880491</c:v>
                </c:pt>
                <c:pt idx="43">
                  <c:v>9287.4999517273154</c:v>
                </c:pt>
                <c:pt idx="44">
                  <c:v>9743.1599510149736</c:v>
                </c:pt>
                <c:pt idx="45">
                  <c:v>10210.105870684474</c:v>
                </c:pt>
                <c:pt idx="46">
                  <c:v>10688.867288922789</c:v>
                </c:pt>
                <c:pt idx="47">
                  <c:v>11176.864161385089</c:v>
                </c:pt>
                <c:pt idx="48">
                  <c:v>11674.067940833571</c:v>
                </c:pt>
                <c:pt idx="49">
                  <c:v>12178.581872592711</c:v>
                </c:pt>
                <c:pt idx="50">
                  <c:v>12689.496346504182</c:v>
                </c:pt>
                <c:pt idx="51">
                  <c:v>13207.890771395787</c:v>
                </c:pt>
                <c:pt idx="52">
                  <c:v>13732.115731774906</c:v>
                </c:pt>
                <c:pt idx="53">
                  <c:v>14261.939560553576</c:v>
                </c:pt>
                <c:pt idx="54">
                  <c:v>14798.725323032784</c:v>
                </c:pt>
                <c:pt idx="55">
                  <c:v>15340.525238334714</c:v>
                </c:pt>
                <c:pt idx="56">
                  <c:v>15886.685128832069</c:v>
                </c:pt>
                <c:pt idx="57">
                  <c:v>16437.68691327516</c:v>
                </c:pt>
                <c:pt idx="58">
                  <c:v>16992.651216965663</c:v>
                </c:pt>
                <c:pt idx="59">
                  <c:v>17550.824097695127</c:v>
                </c:pt>
                <c:pt idx="60">
                  <c:v>18112.29797863221</c:v>
                </c:pt>
                <c:pt idx="61">
                  <c:v>18676.887891283102</c:v>
                </c:pt>
                <c:pt idx="62">
                  <c:v>19243.676839199827</c:v>
                </c:pt>
                <c:pt idx="63">
                  <c:v>19812.067678033338</c:v>
                </c:pt>
                <c:pt idx="64">
                  <c:v>20382.048591975727</c:v>
                </c:pt>
                <c:pt idx="65">
                  <c:v>20952.544757999698</c:v>
                </c:pt>
                <c:pt idx="66">
                  <c:v>21523.219829308451</c:v>
                </c:pt>
                <c:pt idx="67">
                  <c:v>22094.305785881032</c:v>
                </c:pt>
                <c:pt idx="68">
                  <c:v>22664.605850864849</c:v>
                </c:pt>
                <c:pt idx="69">
                  <c:v>23233.835799318742</c:v>
                </c:pt>
                <c:pt idx="70">
                  <c:v>23801.511808217205</c:v>
                </c:pt>
                <c:pt idx="71">
                  <c:v>24367.152274457119</c:v>
                </c:pt>
                <c:pt idx="72">
                  <c:v>24930.289031716573</c:v>
                </c:pt>
                <c:pt idx="73">
                  <c:v>25490.467235019529</c:v>
                </c:pt>
                <c:pt idx="74">
                  <c:v>26047.241691247498</c:v>
                </c:pt>
                <c:pt idx="75">
                  <c:v>26600.177087967113</c:v>
                </c:pt>
                <c:pt idx="76">
                  <c:v>27148.84945551294</c:v>
                </c:pt>
                <c:pt idx="77">
                  <c:v>27692.847473953152</c:v>
                </c:pt>
                <c:pt idx="78">
                  <c:v>28231.774678643458</c:v>
                </c:pt>
                <c:pt idx="79">
                  <c:v>28765.250775272212</c:v>
                </c:pt>
                <c:pt idx="80">
                  <c:v>29292.912242239574</c:v>
                </c:pt>
                <c:pt idx="81">
                  <c:v>29814.412919043996</c:v>
                </c:pt>
                <c:pt idx="82">
                  <c:v>30329.424408241513</c:v>
                </c:pt>
                <c:pt idx="83">
                  <c:v>30837.636338852459</c:v>
                </c:pt>
                <c:pt idx="84">
                  <c:v>31338.756891433972</c:v>
                </c:pt>
                <c:pt idx="85">
                  <c:v>31832.51322160702</c:v>
                </c:pt>
                <c:pt idx="86">
                  <c:v>32318.651642173718</c:v>
                </c:pt>
                <c:pt idx="87">
                  <c:v>32796.937837192563</c:v>
                </c:pt>
                <c:pt idx="88">
                  <c:v>33267.157042391074</c:v>
                </c:pt>
                <c:pt idx="89">
                  <c:v>33729.113970645951</c:v>
                </c:pt>
                <c:pt idx="90">
                  <c:v>34182.632620229371</c:v>
                </c:pt>
                <c:pt idx="91">
                  <c:v>34627.556238388977</c:v>
                </c:pt>
                <c:pt idx="92">
                  <c:v>35063.747102494293</c:v>
                </c:pt>
                <c:pt idx="93">
                  <c:v>35491.086171801144</c:v>
                </c:pt>
                <c:pt idx="94">
                  <c:v>35909.472802423188</c:v>
                </c:pt>
                <c:pt idx="95">
                  <c:v>36318.824360584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850.1944352793253</c:v>
                </c:pt>
                <c:pt idx="43">
                  <c:v>9309.1095942403135</c:v>
                </c:pt>
                <c:pt idx="44">
                  <c:v>9781.4064503475893</c:v>
                </c:pt>
                <c:pt idx="45">
                  <c:v>10269.428597163411</c:v>
                </c:pt>
                <c:pt idx="46">
                  <c:v>10774.10103558105</c:v>
                </c:pt>
                <c:pt idx="47">
                  <c:v>11293.217396543881</c:v>
                </c:pt>
                <c:pt idx="48">
                  <c:v>11827.07227950119</c:v>
                </c:pt>
                <c:pt idx="49">
                  <c:v>12374.056115929863</c:v>
                </c:pt>
                <c:pt idx="50">
                  <c:v>12933.506603850044</c:v>
                </c:pt>
                <c:pt idx="51">
                  <c:v>13506.716338589245</c:v>
                </c:pt>
                <c:pt idx="52">
                  <c:v>14092.226325498279</c:v>
                </c:pt>
                <c:pt idx="53">
                  <c:v>14689.960851436743</c:v>
                </c:pt>
                <c:pt idx="54">
                  <c:v>15301.409134839134</c:v>
                </c:pt>
                <c:pt idx="55">
                  <c:v>15924.720789570951</c:v>
                </c:pt>
                <c:pt idx="56">
                  <c:v>16559.308259645059</c:v>
                </c:pt>
                <c:pt idx="57">
                  <c:v>17205.68842169012</c:v>
                </c:pt>
                <c:pt idx="58">
                  <c:v>17862.990585320513</c:v>
                </c:pt>
                <c:pt idx="59">
                  <c:v>18530.442133264907</c:v>
                </c:pt>
                <c:pt idx="60">
                  <c:v>19208.083968595391</c:v>
                </c:pt>
                <c:pt idx="61">
                  <c:v>19895.647682946288</c:v>
                </c:pt>
                <c:pt idx="62">
                  <c:v>20592.104433823159</c:v>
                </c:pt>
                <c:pt idx="63">
                  <c:v>21296.713380962261</c:v>
                </c:pt>
                <c:pt idx="64">
                  <c:v>22009.288333662487</c:v>
                </c:pt>
                <c:pt idx="65">
                  <c:v>22728.561944936628</c:v>
                </c:pt>
                <c:pt idx="66">
                  <c:v>23453.983736911679</c:v>
                </c:pt>
                <c:pt idx="67">
                  <c:v>24185.541572201775</c:v>
                </c:pt>
                <c:pt idx="68">
                  <c:v>24921.770543267619</c:v>
                </c:pt>
                <c:pt idx="69">
                  <c:v>25662.092801957726</c:v>
                </c:pt>
                <c:pt idx="70">
                  <c:v>26405.709110251239</c:v>
                </c:pt>
                <c:pt idx="71">
                  <c:v>27151.802827917727</c:v>
                </c:pt>
                <c:pt idx="72">
                  <c:v>27899.557099731952</c:v>
                </c:pt>
                <c:pt idx="73">
                  <c:v>28648.156223718779</c:v>
                </c:pt>
                <c:pt idx="74">
                  <c:v>29396.782118833042</c:v>
                </c:pt>
                <c:pt idx="75">
                  <c:v>30144.616370474843</c:v>
                </c:pt>
                <c:pt idx="76">
                  <c:v>30890.844042946403</c:v>
                </c:pt>
                <c:pt idx="77">
                  <c:v>31634.65728011481</c:v>
                </c:pt>
                <c:pt idx="78">
                  <c:v>32375.260221682711</c:v>
                </c:pt>
                <c:pt idx="79">
                  <c:v>33111.872676103798</c:v>
                </c:pt>
                <c:pt idx="80">
                  <c:v>33843.732779040925</c:v>
                </c:pt>
                <c:pt idx="81">
                  <c:v>34570.099592856473</c:v>
                </c:pt>
                <c:pt idx="82">
                  <c:v>35290.25541830423</c:v>
                </c:pt>
                <c:pt idx="83">
                  <c:v>36003.507862232967</c:v>
                </c:pt>
                <c:pt idx="84">
                  <c:v>36709.192169150396</c:v>
                </c:pt>
                <c:pt idx="85">
                  <c:v>37406.673329584963</c:v>
                </c:pt>
                <c:pt idx="86">
                  <c:v>38095.34776112999</c:v>
                </c:pt>
                <c:pt idx="87">
                  <c:v>38774.644914808727</c:v>
                </c:pt>
                <c:pt idx="88">
                  <c:v>39444.028723206524</c:v>
                </c:pt>
                <c:pt idx="89">
                  <c:v>40102.998578457002</c:v>
                </c:pt>
                <c:pt idx="90">
                  <c:v>40751.090016525501</c:v>
                </c:pt>
                <c:pt idx="91">
                  <c:v>41387.875489522332</c:v>
                </c:pt>
                <c:pt idx="92">
                  <c:v>42012.964757167589</c:v>
                </c:pt>
                <c:pt idx="93">
                  <c:v>42626.00497362607</c:v>
                </c:pt>
                <c:pt idx="94">
                  <c:v>43226.680735770875</c:v>
                </c:pt>
                <c:pt idx="95">
                  <c:v>43814.71387560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859.2542889358119</c:v>
                </c:pt>
                <c:pt idx="43">
                  <c:v>9330.9262891918515</c:v>
                </c:pt>
                <c:pt idx="44">
                  <c:v>9820.1636288459868</c:v>
                </c:pt>
                <c:pt idx="45">
                  <c:v>10329.793203547586</c:v>
                </c:pt>
                <c:pt idx="46">
                  <c:v>10861.219800205517</c:v>
                </c:pt>
                <c:pt idx="47">
                  <c:v>11412.704742898619</c:v>
                </c:pt>
                <c:pt idx="48">
                  <c:v>11984.968434984619</c:v>
                </c:pt>
                <c:pt idx="49">
                  <c:v>12576.7985656929</c:v>
                </c:pt>
                <c:pt idx="50">
                  <c:v>13187.89584843754</c:v>
                </c:pt>
                <c:pt idx="51">
                  <c:v>13819.885929786029</c:v>
                </c:pt>
                <c:pt idx="52">
                  <c:v>14471.622378160429</c:v>
                </c:pt>
                <c:pt idx="53">
                  <c:v>15143.307478545879</c:v>
                </c:pt>
                <c:pt idx="54">
                  <c:v>15836.676688761028</c:v>
                </c:pt>
                <c:pt idx="55">
                  <c:v>16550.093033776902</c:v>
                </c:pt>
                <c:pt idx="56">
                  <c:v>17283.146220252333</c:v>
                </c:pt>
                <c:pt idx="57">
                  <c:v>18036.490785190355</c:v>
                </c:pt>
                <c:pt idx="58">
                  <c:v>18809.358359950478</c:v>
                </c:pt>
                <c:pt idx="59">
                  <c:v>19601.04042158238</c:v>
                </c:pt>
                <c:pt idx="60">
                  <c:v>20411.595314949009</c:v>
                </c:pt>
                <c:pt idx="61">
                  <c:v>21240.724836163317</c:v>
                </c:pt>
                <c:pt idx="62">
                  <c:v>22087.324942477164</c:v>
                </c:pt>
                <c:pt idx="63">
                  <c:v>22950.529897400294</c:v>
                </c:pt>
                <c:pt idx="64">
                  <c:v>23829.97895250946</c:v>
                </c:pt>
                <c:pt idx="65">
                  <c:v>24724.194154696463</c:v>
                </c:pt>
                <c:pt idx="66">
                  <c:v>25632.374377661312</c:v>
                </c:pt>
                <c:pt idx="67">
                  <c:v>26554.205841634463</c:v>
                </c:pt>
                <c:pt idx="68">
                  <c:v>27487.877501819847</c:v>
                </c:pt>
                <c:pt idx="69">
                  <c:v>28432.419774330385</c:v>
                </c:pt>
                <c:pt idx="70">
                  <c:v>29386.600734113548</c:v>
                </c:pt>
                <c:pt idx="71">
                  <c:v>30349.133211488781</c:v>
                </c:pt>
                <c:pt idx="72">
                  <c:v>31318.700038418483</c:v>
                </c:pt>
                <c:pt idx="73">
                  <c:v>32293.958199058114</c:v>
                </c:pt>
                <c:pt idx="74">
                  <c:v>33273.536651835318</c:v>
                </c:pt>
                <c:pt idx="75">
                  <c:v>34256.041988560639</c:v>
                </c:pt>
                <c:pt idx="76">
                  <c:v>35240.066672993984</c:v>
                </c:pt>
                <c:pt idx="77">
                  <c:v>36224.197114754505</c:v>
                </c:pt>
                <c:pt idx="78">
                  <c:v>37207.023663643442</c:v>
                </c:pt>
                <c:pt idx="79">
                  <c:v>38187.148976411234</c:v>
                </c:pt>
                <c:pt idx="80">
                  <c:v>39163.195028545277</c:v>
                </c:pt>
                <c:pt idx="81">
                  <c:v>40133.810001520687</c:v>
                </c:pt>
                <c:pt idx="82">
                  <c:v>41097.67471478958</c:v>
                </c:pt>
                <c:pt idx="83">
                  <c:v>42053.508611238423</c:v>
                </c:pt>
                <c:pt idx="84">
                  <c:v>43000.075905802929</c:v>
                </c:pt>
                <c:pt idx="85">
                  <c:v>43936.191235154998</c:v>
                </c:pt>
                <c:pt idx="86">
                  <c:v>44860.724505935817</c:v>
                </c:pt>
                <c:pt idx="87">
                  <c:v>45772.605371621743</c:v>
                </c:pt>
                <c:pt idx="88">
                  <c:v>46670.827221623345</c:v>
                </c:pt>
                <c:pt idx="89">
                  <c:v>47554.450249930211</c:v>
                </c:pt>
                <c:pt idx="90">
                  <c:v>48422.603821739031</c:v>
                </c:pt>
                <c:pt idx="91">
                  <c:v>49274.488653823209</c:v>
                </c:pt>
                <c:pt idx="92">
                  <c:v>50109.378181448672</c:v>
                </c:pt>
                <c:pt idx="93">
                  <c:v>50926.61922343223</c:v>
                </c:pt>
                <c:pt idx="94">
                  <c:v>51725.632310680347</c:v>
                </c:pt>
                <c:pt idx="95">
                  <c:v>52505.911408527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8</c:v>
                </c:pt>
                <c:pt idx="1">
                  <c:v>115</c:v>
                </c:pt>
                <c:pt idx="2">
                  <c:v>120</c:v>
                </c:pt>
                <c:pt idx="3">
                  <c:v>131</c:v>
                </c:pt>
                <c:pt idx="4">
                  <c:v>140</c:v>
                </c:pt>
                <c:pt idx="5">
                  <c:v>150</c:v>
                </c:pt>
                <c:pt idx="6">
                  <c:v>154</c:v>
                </c:pt>
                <c:pt idx="7">
                  <c:v>158</c:v>
                </c:pt>
                <c:pt idx="8">
                  <c:v>161</c:v>
                </c:pt>
                <c:pt idx="9">
                  <c:v>170</c:v>
                </c:pt>
                <c:pt idx="10">
                  <c:v>178</c:v>
                </c:pt>
                <c:pt idx="11">
                  <c:v>187</c:v>
                </c:pt>
                <c:pt idx="12">
                  <c:v>194</c:v>
                </c:pt>
                <c:pt idx="13">
                  <c:v>205</c:v>
                </c:pt>
                <c:pt idx="14">
                  <c:v>209</c:v>
                </c:pt>
                <c:pt idx="15">
                  <c:v>215</c:v>
                </c:pt>
                <c:pt idx="16">
                  <c:v>219</c:v>
                </c:pt>
                <c:pt idx="17">
                  <c:v>239</c:v>
                </c:pt>
                <c:pt idx="18">
                  <c:v>252</c:v>
                </c:pt>
                <c:pt idx="19">
                  <c:v>261</c:v>
                </c:pt>
                <c:pt idx="20">
                  <c:v>271</c:v>
                </c:pt>
                <c:pt idx="21">
                  <c:v>288</c:v>
                </c:pt>
                <c:pt idx="22">
                  <c:v>304</c:v>
                </c:pt>
                <c:pt idx="23">
                  <c:v>319</c:v>
                </c:pt>
                <c:pt idx="24">
                  <c:v>329</c:v>
                </c:pt>
                <c:pt idx="25">
                  <c:v>353</c:v>
                </c:pt>
                <c:pt idx="26">
                  <c:v>380</c:v>
                </c:pt>
                <c:pt idx="27">
                  <c:v>402</c:v>
                </c:pt>
                <c:pt idx="28">
                  <c:v>430</c:v>
                </c:pt>
                <c:pt idx="29">
                  <c:v>447</c:v>
                </c:pt>
                <c:pt idx="30">
                  <c:v>469</c:v>
                </c:pt>
                <c:pt idx="31">
                  <c:v>500</c:v>
                </c:pt>
                <c:pt idx="32">
                  <c:v>555</c:v>
                </c:pt>
                <c:pt idx="33">
                  <c:v>612</c:v>
                </c:pt>
                <c:pt idx="34">
                  <c:v>647</c:v>
                </c:pt>
                <c:pt idx="35">
                  <c:v>687</c:v>
                </c:pt>
                <c:pt idx="36">
                  <c:v>722</c:v>
                </c:pt>
                <c:pt idx="37">
                  <c:v>755</c:v>
                </c:pt>
                <c:pt idx="38">
                  <c:v>812</c:v>
                </c:pt>
                <c:pt idx="39">
                  <c:v>868</c:v>
                </c:pt>
                <c:pt idx="40">
                  <c:v>906</c:v>
                </c:pt>
                <c:pt idx="41">
                  <c:v>947</c:v>
                </c:pt>
                <c:pt idx="42">
                  <c:v>998</c:v>
                </c:pt>
                <c:pt idx="43">
                  <c:v>1052</c:v>
                </c:pt>
                <c:pt idx="44">
                  <c:v>1087</c:v>
                </c:pt>
                <c:pt idx="45">
                  <c:v>1162</c:v>
                </c:pt>
                <c:pt idx="46">
                  <c:v>1233</c:v>
                </c:pt>
                <c:pt idx="47">
                  <c:v>1290</c:v>
                </c:pt>
                <c:pt idx="48">
                  <c:v>1365</c:v>
                </c:pt>
                <c:pt idx="49">
                  <c:v>1428</c:v>
                </c:pt>
                <c:pt idx="50">
                  <c:v>1477</c:v>
                </c:pt>
                <c:pt idx="51">
                  <c:v>1532</c:v>
                </c:pt>
                <c:pt idx="52">
                  <c:v>1616</c:v>
                </c:pt>
                <c:pt idx="53">
                  <c:v>1722</c:v>
                </c:pt>
                <c:pt idx="54">
                  <c:v>1800</c:v>
                </c:pt>
                <c:pt idx="55">
                  <c:v>1891</c:v>
                </c:pt>
                <c:pt idx="56">
                  <c:v>1962</c:v>
                </c:pt>
                <c:pt idx="57">
                  <c:v>2029</c:v>
                </c:pt>
                <c:pt idx="58">
                  <c:v>2069</c:v>
                </c:pt>
                <c:pt idx="59">
                  <c:v>2137</c:v>
                </c:pt>
                <c:pt idx="60">
                  <c:v>2214</c:v>
                </c:pt>
                <c:pt idx="61">
                  <c:v>2290</c:v>
                </c:pt>
                <c:pt idx="62">
                  <c:v>2354</c:v>
                </c:pt>
                <c:pt idx="63">
                  <c:v>2420</c:v>
                </c:pt>
                <c:pt idx="64">
                  <c:v>2488</c:v>
                </c:pt>
                <c:pt idx="65">
                  <c:v>2537</c:v>
                </c:pt>
                <c:pt idx="66">
                  <c:v>2601</c:v>
                </c:pt>
                <c:pt idx="67">
                  <c:v>2652</c:v>
                </c:pt>
                <c:pt idx="68">
                  <c:v>2699</c:v>
                </c:pt>
                <c:pt idx="69">
                  <c:v>2761</c:v>
                </c:pt>
                <c:pt idx="70">
                  <c:v>2830</c:v>
                </c:pt>
                <c:pt idx="71">
                  <c:v>2881</c:v>
                </c:pt>
                <c:pt idx="72">
                  <c:v>2921</c:v>
                </c:pt>
                <c:pt idx="73">
                  <c:v>3011</c:v>
                </c:pt>
                <c:pt idx="74">
                  <c:v>3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97.30834475600739</c:v>
                </c:pt>
                <c:pt idx="43">
                  <c:v>1048.6694748478194</c:v>
                </c:pt>
                <c:pt idx="44">
                  <c:v>1101.113703129856</c:v>
                </c:pt>
                <c:pt idx="45">
                  <c:v>1154.8637914369101</c:v>
                </c:pt>
                <c:pt idx="46">
                  <c:v>1209.9807797182398</c:v>
                </c:pt>
                <c:pt idx="47">
                  <c:v>1266.1643897841259</c:v>
                </c:pt>
                <c:pt idx="48">
                  <c:v>1323.4094566455387</c:v>
                </c:pt>
                <c:pt idx="49">
                  <c:v>1381.494535587907</c:v>
                </c:pt>
                <c:pt idx="50">
                  <c:v>1440.317481894868</c:v>
                </c:pt>
                <c:pt idx="51">
                  <c:v>1500.002678353027</c:v>
                </c:pt>
                <c:pt idx="52">
                  <c:v>1560.3575737329847</c:v>
                </c:pt>
                <c:pt idx="53">
                  <c:v>1621.3566813518778</c:v>
                </c:pt>
                <c:pt idx="54">
                  <c:v>1683.1557420603804</c:v>
                </c:pt>
                <c:pt idx="55">
                  <c:v>1745.5306927923211</c:v>
                </c:pt>
                <c:pt idx="56">
                  <c:v>1808.4060516650206</c:v>
                </c:pt>
                <c:pt idx="57">
                  <c:v>1871.8374429649832</c:v>
                </c:pt>
                <c:pt idx="58">
                  <c:v>1935.7240699907838</c:v>
                </c:pt>
                <c:pt idx="59">
                  <c:v>1999.9777540392547</c:v>
                </c:pt>
                <c:pt idx="60">
                  <c:v>2064.6081413766824</c:v>
                </c:pt>
                <c:pt idx="61">
                  <c:v>2129.596551368074</c:v>
                </c:pt>
                <c:pt idx="62">
                  <c:v>2194.8358866703452</c:v>
                </c:pt>
                <c:pt idx="63">
                  <c:v>2260.2574838534733</c:v>
                </c:pt>
                <c:pt idx="64">
                  <c:v>2325.8610389284022</c:v>
                </c:pt>
                <c:pt idx="65">
                  <c:v>2391.5229095033019</c:v>
                </c:pt>
                <c:pt idx="66">
                  <c:v>2457.2038959784086</c:v>
                </c:pt>
                <c:pt idx="67">
                  <c:v>2522.9292776421153</c:v>
                </c:pt>
                <c:pt idx="68">
                  <c:v>2588.5627617017617</c:v>
                </c:pt>
                <c:pt idx="69">
                  <c:v>2654.0712481016831</c:v>
                </c:pt>
                <c:pt idx="70">
                  <c:v>2719.399071293994</c:v>
                </c:pt>
                <c:pt idx="71">
                  <c:v>2784.4908197777563</c:v>
                </c:pt>
                <c:pt idx="72">
                  <c:v>2849.2926318760228</c:v>
                </c:pt>
                <c:pt idx="73">
                  <c:v>2913.7521839786586</c:v>
                </c:pt>
                <c:pt idx="74">
                  <c:v>2977.8182693454473</c:v>
                </c:pt>
                <c:pt idx="75">
                  <c:v>3041.4408238188494</c:v>
                </c:pt>
                <c:pt idx="76">
                  <c:v>3104.5710940091899</c:v>
                </c:pt>
                <c:pt idx="77">
                  <c:v>3167.1617875343195</c:v>
                </c:pt>
                <c:pt idx="78">
                  <c:v>3229.1673253670715</c:v>
                </c:pt>
                <c:pt idx="79">
                  <c:v>3290.5439932712561</c:v>
                </c:pt>
                <c:pt idx="80">
                  <c:v>3351.2500109370667</c:v>
                </c:pt>
                <c:pt idx="81">
                  <c:v>3411.2455995845339</c:v>
                </c:pt>
                <c:pt idx="82">
                  <c:v>3470.4930277243416</c:v>
                </c:pt>
                <c:pt idx="83">
                  <c:v>3528.9566409310064</c:v>
                </c:pt>
                <c:pt idx="84">
                  <c:v>3586.6029222220413</c:v>
                </c:pt>
                <c:pt idx="85">
                  <c:v>3643.4005403859301</c:v>
                </c:pt>
                <c:pt idx="86">
                  <c:v>3699.3203703272866</c:v>
                </c:pt>
                <c:pt idx="87">
                  <c:v>3754.3355173772743</c:v>
                </c:pt>
                <c:pt idx="88">
                  <c:v>3808.421337972271</c:v>
                </c:pt>
                <c:pt idx="89">
                  <c:v>3861.5554307849006</c:v>
                </c:pt>
                <c:pt idx="90">
                  <c:v>3913.7176140409961</c:v>
                </c:pt>
                <c:pt idx="91">
                  <c:v>3964.8899213728505</c:v>
                </c:pt>
                <c:pt idx="92">
                  <c:v>4015.056576219878</c:v>
                </c:pt>
                <c:pt idx="93">
                  <c:v>4064.2039512764468</c:v>
                </c:pt>
                <c:pt idx="94">
                  <c:v>4112.3205353724516</c:v>
                </c:pt>
                <c:pt idx="95">
                  <c:v>4159.3968888687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98.34685317401727</c:v>
                </c:pt>
                <c:pt idx="43">
                  <c:v>1051.1623218652796</c:v>
                </c:pt>
                <c:pt idx="44">
                  <c:v>1105.5257252273127</c:v>
                </c:pt>
                <c:pt idx="45">
                  <c:v>1161.7070472322637</c:v>
                </c:pt>
                <c:pt idx="46">
                  <c:v>1219.8129039498372</c:v>
                </c:pt>
                <c:pt idx="47">
                  <c:v>1279.5860630670925</c:v>
                </c:pt>
                <c:pt idx="48">
                  <c:v>1341.0585206121802</c:v>
                </c:pt>
                <c:pt idx="49">
                  <c:v>1404.041822690634</c:v>
                </c:pt>
                <c:pt idx="50">
                  <c:v>1468.4621876170818</c:v>
                </c:pt>
                <c:pt idx="51">
                  <c:v>1534.4684199440876</c:v>
                </c:pt>
                <c:pt idx="52">
                  <c:v>1601.8897753033341</c:v>
                </c:pt>
                <c:pt idx="53">
                  <c:v>1670.7185856150154</c:v>
                </c:pt>
                <c:pt idx="54">
                  <c:v>1741.1249865430545</c:v>
                </c:pt>
                <c:pt idx="55">
                  <c:v>1812.8959907422964</c:v>
                </c:pt>
                <c:pt idx="56">
                  <c:v>1885.9636466127588</c:v>
                </c:pt>
                <c:pt idx="57">
                  <c:v>1960.3874672375812</c:v>
                </c:pt>
                <c:pt idx="58">
                  <c:v>2036.0675266441447</c:v>
                </c:pt>
                <c:pt idx="59">
                  <c:v>2112.9133695996197</c:v>
                </c:pt>
                <c:pt idx="60">
                  <c:v>2190.9285876092763</c:v>
                </c:pt>
                <c:pt idx="61">
                  <c:v>2270.0847751461802</c:v>
                </c:pt>
                <c:pt idx="62">
                  <c:v>2350.2618558523845</c:v>
                </c:pt>
                <c:pt idx="63">
                  <c:v>2431.37451925494</c:v>
                </c:pt>
                <c:pt idx="64">
                  <c:v>2513.4022810815204</c:v>
                </c:pt>
                <c:pt idx="65">
                  <c:v>2596.199241961318</c:v>
                </c:pt>
                <c:pt idx="66">
                  <c:v>2679.7014604867591</c:v>
                </c:pt>
                <c:pt idx="67">
                  <c:v>2763.9060280718472</c:v>
                </c:pt>
                <c:pt idx="68">
                  <c:v>2848.6457031026748</c:v>
                </c:pt>
                <c:pt idx="69">
                  <c:v>2933.8535121606101</c:v>
                </c:pt>
                <c:pt idx="70">
                  <c:v>3019.4374159506351</c:v>
                </c:pt>
                <c:pt idx="71">
                  <c:v>3105.303375629433</c:v>
                </c:pt>
                <c:pt idx="72">
                  <c:v>3191.3573382512209</c:v>
                </c:pt>
                <c:pt idx="73">
                  <c:v>3277.5053966538517</c:v>
                </c:pt>
                <c:pt idx="74">
                  <c:v>3363.6533846401317</c:v>
                </c:pt>
                <c:pt idx="75">
                  <c:v>3449.70711176437</c:v>
                </c:pt>
                <c:pt idx="76">
                  <c:v>3535.5728022043127</c:v>
                </c:pt>
                <c:pt idx="77">
                  <c:v>3621.1575090439251</c:v>
                </c:pt>
                <c:pt idx="78">
                  <c:v>3706.3696780253222</c:v>
                </c:pt>
                <c:pt idx="79">
                  <c:v>3791.119570449298</c:v>
                </c:pt>
                <c:pt idx="80">
                  <c:v>3875.3195688636711</c:v>
                </c:pt>
                <c:pt idx="81">
                  <c:v>3958.8844759382355</c:v>
                </c:pt>
                <c:pt idx="82">
                  <c:v>4041.7317796284351</c:v>
                </c:pt>
                <c:pt idx="83">
                  <c:v>4123.7818901898772</c:v>
                </c:pt>
                <c:pt idx="84">
                  <c:v>4204.9584081396843</c:v>
                </c:pt>
                <c:pt idx="85">
                  <c:v>4285.1883660233689</c:v>
                </c:pt>
                <c:pt idx="86">
                  <c:v>4364.4024206563217</c:v>
                </c:pt>
                <c:pt idx="87">
                  <c:v>4442.5350371402747</c:v>
                </c:pt>
                <c:pt idx="88">
                  <c:v>4519.5246549606818</c:v>
                </c:pt>
                <c:pt idx="89">
                  <c:v>4595.3137996594942</c:v>
                </c:pt>
                <c:pt idx="90">
                  <c:v>4669.849160262148</c:v>
                </c:pt>
                <c:pt idx="91">
                  <c:v>4743.0816777304963</c:v>
                </c:pt>
                <c:pt idx="92">
                  <c:v>4814.9665889541293</c:v>
                </c:pt>
                <c:pt idx="93">
                  <c:v>4885.4634355938379</c:v>
                </c:pt>
                <c:pt idx="94">
                  <c:v>4954.5360687123521</c:v>
                </c:pt>
                <c:pt idx="95">
                  <c:v>5022.1526242759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99.39197250795257</c:v>
                </c:pt>
                <c:pt idx="43">
                  <c:v>1053.6790427790443</c:v>
                </c:pt>
                <c:pt idx="44">
                  <c:v>1109.9966373707425</c:v>
                </c:pt>
                <c:pt idx="45">
                  <c:v>1168.6704571622095</c:v>
                </c:pt>
                <c:pt idx="46">
                  <c:v>1229.8624225699436</c:v>
                </c:pt>
                <c:pt idx="47">
                  <c:v>1293.3691865179492</c:v>
                </c:pt>
                <c:pt idx="48">
                  <c:v>1359.2717390854482</c:v>
                </c:pt>
                <c:pt idx="49">
                  <c:v>1427.4273021230213</c:v>
                </c:pt>
                <c:pt idx="50">
                  <c:v>1497.8037874884408</c:v>
                </c:pt>
                <c:pt idx="51">
                  <c:v>1570.5882265325379</c:v>
                </c:pt>
                <c:pt idx="52">
                  <c:v>1645.6457439026678</c:v>
                </c:pt>
                <c:pt idx="53">
                  <c:v>1723.0005350436536</c:v>
                </c:pt>
                <c:pt idx="54">
                  <c:v>1802.850943734571</c:v>
                </c:pt>
                <c:pt idx="55">
                  <c:v>1885.0083963956026</c:v>
                </c:pt>
                <c:pt idx="56">
                  <c:v>1969.4251847211399</c:v>
                </c:pt>
                <c:pt idx="57">
                  <c:v>2056.1765027381798</c:v>
                </c:pt>
                <c:pt idx="58">
                  <c:v>2145.1740376350954</c:v>
                </c:pt>
                <c:pt idx="59">
                  <c:v>2236.3345432454612</c:v>
                </c:pt>
                <c:pt idx="60">
                  <c:v>2329.6634468323109</c:v>
                </c:pt>
                <c:pt idx="61">
                  <c:v>2425.1287402963662</c:v>
                </c:pt>
                <c:pt idx="62">
                  <c:v>2522.6015293821383</c:v>
                </c:pt>
                <c:pt idx="63">
                  <c:v>2621.9819596318885</c:v>
                </c:pt>
                <c:pt idx="64">
                  <c:v>2723.2292809213131</c:v>
                </c:pt>
                <c:pt idx="65">
                  <c:v>2826.173189164736</c:v>
                </c:pt>
                <c:pt idx="66">
                  <c:v>2930.7207309296591</c:v>
                </c:pt>
                <c:pt idx="67">
                  <c:v>3036.8341221284768</c:v>
                </c:pt>
                <c:pt idx="68">
                  <c:v>3144.3061289881184</c:v>
                </c:pt>
                <c:pt idx="69">
                  <c:v>3253.0245496667235</c:v>
                </c:pt>
                <c:pt idx="70">
                  <c:v>3362.8474140043691</c:v>
                </c:pt>
                <c:pt idx="71">
                  <c:v>3473.6264050974846</c:v>
                </c:pt>
                <c:pt idx="72">
                  <c:v>3585.2097762304575</c:v>
                </c:pt>
                <c:pt idx="73">
                  <c:v>3697.4428329184034</c:v>
                </c:pt>
                <c:pt idx="74">
                  <c:v>3810.1676854956177</c:v>
                </c:pt>
                <c:pt idx="75">
                  <c:v>3923.223900450505</c:v>
                </c:pt>
                <c:pt idx="76">
                  <c:v>4036.4494494799656</c:v>
                </c:pt>
                <c:pt idx="77">
                  <c:v>4149.6816391131342</c:v>
                </c:pt>
                <c:pt idx="78">
                  <c:v>4262.7582585334039</c:v>
                </c:pt>
                <c:pt idx="79">
                  <c:v>4375.5185429998546</c:v>
                </c:pt>
                <c:pt idx="80">
                  <c:v>4487.8039805420503</c:v>
                </c:pt>
                <c:pt idx="81">
                  <c:v>4599.4591040367814</c:v>
                </c:pt>
                <c:pt idx="82">
                  <c:v>4710.3322299254669</c:v>
                </c:pt>
                <c:pt idx="83">
                  <c:v>4820.2761453273906</c:v>
                </c:pt>
                <c:pt idx="84">
                  <c:v>4929.1488145028752</c:v>
                </c:pt>
                <c:pt idx="85">
                  <c:v>5036.8140271194761</c:v>
                </c:pt>
                <c:pt idx="86">
                  <c:v>5143.1419536689073</c:v>
                </c:pt>
                <c:pt idx="87">
                  <c:v>5248.0096585443698</c:v>
                </c:pt>
                <c:pt idx="88">
                  <c:v>5351.3015572782333</c:v>
                </c:pt>
                <c:pt idx="89">
                  <c:v>5452.9097673570177</c:v>
                </c:pt>
                <c:pt idx="90">
                  <c:v>5552.734377626105</c:v>
                </c:pt>
                <c:pt idx="91">
                  <c:v>5650.6836974334674</c:v>
                </c:pt>
                <c:pt idx="92">
                  <c:v>5746.6744113166551</c:v>
                </c:pt>
                <c:pt idx="93">
                  <c:v>5840.6316528139987</c:v>
                </c:pt>
                <c:pt idx="94">
                  <c:v>5932.4890398882426</c:v>
                </c:pt>
                <c:pt idx="95">
                  <c:v>6022.1886410570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5</c:v>
                </c:pt>
                <c:pt idx="2">
                  <c:v>37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1</c:v>
                </c:pt>
                <c:pt idx="7">
                  <c:v>59</c:v>
                </c:pt>
                <c:pt idx="8">
                  <c:v>60</c:v>
                </c:pt>
                <c:pt idx="9">
                  <c:v>62</c:v>
                </c:pt>
                <c:pt idx="10">
                  <c:v>68</c:v>
                </c:pt>
                <c:pt idx="11">
                  <c:v>70</c:v>
                </c:pt>
                <c:pt idx="12">
                  <c:v>72</c:v>
                </c:pt>
                <c:pt idx="13">
                  <c:v>75</c:v>
                </c:pt>
                <c:pt idx="14">
                  <c:v>80</c:v>
                </c:pt>
                <c:pt idx="15">
                  <c:v>86</c:v>
                </c:pt>
                <c:pt idx="16">
                  <c:v>87</c:v>
                </c:pt>
                <c:pt idx="17">
                  <c:v>92</c:v>
                </c:pt>
                <c:pt idx="18">
                  <c:v>105</c:v>
                </c:pt>
                <c:pt idx="19">
                  <c:v>111</c:v>
                </c:pt>
                <c:pt idx="20">
                  <c:v>118</c:v>
                </c:pt>
                <c:pt idx="21">
                  <c:v>125</c:v>
                </c:pt>
                <c:pt idx="22">
                  <c:v>128</c:v>
                </c:pt>
                <c:pt idx="23">
                  <c:v>137</c:v>
                </c:pt>
                <c:pt idx="24">
                  <c:v>142</c:v>
                </c:pt>
                <c:pt idx="25">
                  <c:v>154</c:v>
                </c:pt>
                <c:pt idx="26">
                  <c:v>167</c:v>
                </c:pt>
                <c:pt idx="27">
                  <c:v>174</c:v>
                </c:pt>
                <c:pt idx="28">
                  <c:v>185</c:v>
                </c:pt>
                <c:pt idx="29">
                  <c:v>191</c:v>
                </c:pt>
                <c:pt idx="30">
                  <c:v>208</c:v>
                </c:pt>
                <c:pt idx="31">
                  <c:v>230</c:v>
                </c:pt>
                <c:pt idx="32">
                  <c:v>249</c:v>
                </c:pt>
                <c:pt idx="33">
                  <c:v>271</c:v>
                </c:pt>
                <c:pt idx="34">
                  <c:v>293</c:v>
                </c:pt>
                <c:pt idx="35">
                  <c:v>322</c:v>
                </c:pt>
                <c:pt idx="36">
                  <c:v>332</c:v>
                </c:pt>
                <c:pt idx="37">
                  <c:v>358</c:v>
                </c:pt>
                <c:pt idx="38">
                  <c:v>386</c:v>
                </c:pt>
                <c:pt idx="39">
                  <c:v>411</c:v>
                </c:pt>
                <c:pt idx="40">
                  <c:v>443</c:v>
                </c:pt>
                <c:pt idx="41">
                  <c:v>467</c:v>
                </c:pt>
                <c:pt idx="42">
                  <c:v>512</c:v>
                </c:pt>
                <c:pt idx="43">
                  <c:v>533</c:v>
                </c:pt>
                <c:pt idx="44">
                  <c:v>553</c:v>
                </c:pt>
                <c:pt idx="45">
                  <c:v>595</c:v>
                </c:pt>
                <c:pt idx="46">
                  <c:v>658</c:v>
                </c:pt>
                <c:pt idx="47">
                  <c:v>693</c:v>
                </c:pt>
                <c:pt idx="48">
                  <c:v>725</c:v>
                </c:pt>
                <c:pt idx="49">
                  <c:v>771</c:v>
                </c:pt>
                <c:pt idx="50">
                  <c:v>806</c:v>
                </c:pt>
                <c:pt idx="51">
                  <c:v>836</c:v>
                </c:pt>
                <c:pt idx="52">
                  <c:v>912</c:v>
                </c:pt>
                <c:pt idx="53">
                  <c:v>956</c:v>
                </c:pt>
                <c:pt idx="54">
                  <c:v>987</c:v>
                </c:pt>
                <c:pt idx="55">
                  <c:v>1053</c:v>
                </c:pt>
                <c:pt idx="56">
                  <c:v>1119</c:v>
                </c:pt>
                <c:pt idx="57">
                  <c:v>1152</c:v>
                </c:pt>
                <c:pt idx="58">
                  <c:v>1189</c:v>
                </c:pt>
                <c:pt idx="59">
                  <c:v>1272</c:v>
                </c:pt>
                <c:pt idx="60">
                  <c:v>1338</c:v>
                </c:pt>
                <c:pt idx="61">
                  <c:v>1393</c:v>
                </c:pt>
                <c:pt idx="62">
                  <c:v>1459</c:v>
                </c:pt>
                <c:pt idx="63">
                  <c:v>1510</c:v>
                </c:pt>
                <c:pt idx="64">
                  <c:v>1552</c:v>
                </c:pt>
                <c:pt idx="65">
                  <c:v>1599</c:v>
                </c:pt>
                <c:pt idx="66">
                  <c:v>1683</c:v>
                </c:pt>
                <c:pt idx="67">
                  <c:v>1735</c:v>
                </c:pt>
                <c:pt idx="68">
                  <c:v>1791</c:v>
                </c:pt>
                <c:pt idx="69">
                  <c:v>1841</c:v>
                </c:pt>
                <c:pt idx="70">
                  <c:v>1881</c:v>
                </c:pt>
                <c:pt idx="71">
                  <c:v>1904</c:v>
                </c:pt>
                <c:pt idx="72">
                  <c:v>1931</c:v>
                </c:pt>
                <c:pt idx="73">
                  <c:v>1976</c:v>
                </c:pt>
                <c:pt idx="74">
                  <c:v>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91.24126182857611</c:v>
                </c:pt>
                <c:pt idx="43">
                  <c:v>516.99934679527644</c:v>
                </c:pt>
                <c:pt idx="44">
                  <c:v>543.2799167362889</c:v>
                </c:pt>
                <c:pt idx="45">
                  <c:v>570.19407597732538</c:v>
                </c:pt>
                <c:pt idx="46">
                  <c:v>597.77214723020631</c:v>
                </c:pt>
                <c:pt idx="47">
                  <c:v>625.87367766270677</c:v>
                </c:pt>
                <c:pt idx="48">
                  <c:v>654.50173833746715</c:v>
                </c:pt>
                <c:pt idx="49">
                  <c:v>683.55480830646354</c:v>
                </c:pt>
                <c:pt idx="50">
                  <c:v>712.97403167034452</c:v>
                </c:pt>
                <c:pt idx="51">
                  <c:v>742.82129239129915</c:v>
                </c:pt>
                <c:pt idx="52">
                  <c:v>773.00826576489578</c:v>
                </c:pt>
                <c:pt idx="53">
                  <c:v>803.5186355247838</c:v>
                </c:pt>
                <c:pt idx="54">
                  <c:v>834.43388243220852</c:v>
                </c:pt>
                <c:pt idx="55">
                  <c:v>865.64137303909013</c:v>
                </c:pt>
                <c:pt idx="56">
                  <c:v>897.1038521644175</c:v>
                </c:pt>
                <c:pt idx="57">
                  <c:v>928.84871874953876</c:v>
                </c:pt>
                <c:pt idx="58">
                  <c:v>960.82421236816822</c:v>
                </c:pt>
                <c:pt idx="59">
                  <c:v>992.99037225404538</c:v>
                </c:pt>
                <c:pt idx="60">
                  <c:v>1025.3550170793906</c:v>
                </c:pt>
                <c:pt idx="61">
                  <c:v>1057.9009311686457</c:v>
                </c:pt>
                <c:pt idx="62">
                  <c:v>1090.5791307619363</c:v>
                </c:pt>
                <c:pt idx="63">
                  <c:v>1123.3550120179832</c:v>
                </c:pt>
                <c:pt idx="64">
                  <c:v>1156.2252427851734</c:v>
                </c:pt>
                <c:pt idx="65">
                  <c:v>1189.127669940922</c:v>
                </c:pt>
                <c:pt idx="66">
                  <c:v>1222.0441187225831</c:v>
                </c:pt>
                <c:pt idx="67">
                  <c:v>1254.9915344453259</c:v>
                </c:pt>
                <c:pt idx="68">
                  <c:v>1287.8972513306803</c:v>
                </c:pt>
                <c:pt idx="69">
                  <c:v>1320.7458483241237</c:v>
                </c:pt>
                <c:pt idx="70">
                  <c:v>1353.5093700583493</c:v>
                </c:pt>
                <c:pt idx="71">
                  <c:v>1386.1599928548383</c:v>
                </c:pt>
                <c:pt idx="72">
                  <c:v>1418.670659687592</c:v>
                </c:pt>
                <c:pt idx="73">
                  <c:v>1451.0150696875512</c:v>
                </c:pt>
                <c:pt idx="74">
                  <c:v>1483.1674636321395</c:v>
                </c:pt>
                <c:pt idx="75">
                  <c:v>1515.1026387098834</c:v>
                </c:pt>
                <c:pt idx="76">
                  <c:v>1546.796033081627</c:v>
                </c:pt>
                <c:pt idx="77">
                  <c:v>1578.2238017269319</c:v>
                </c:pt>
                <c:pt idx="78">
                  <c:v>1609.3629474189906</c:v>
                </c:pt>
                <c:pt idx="79">
                  <c:v>1640.1913963682207</c:v>
                </c:pt>
                <c:pt idx="80">
                  <c:v>1670.6880334556749</c:v>
                </c:pt>
                <c:pt idx="81">
                  <c:v>1700.832736462271</c:v>
                </c:pt>
                <c:pt idx="82">
                  <c:v>1730.6064005140711</c:v>
                </c:pt>
                <c:pt idx="83">
                  <c:v>1759.9909546391361</c:v>
                </c:pt>
                <c:pt idx="84">
                  <c:v>1788.9693921873309</c:v>
                </c:pt>
                <c:pt idx="85">
                  <c:v>1817.5257963066308</c:v>
                </c:pt>
                <c:pt idx="86">
                  <c:v>1845.6453519923036</c:v>
                </c:pt>
                <c:pt idx="87">
                  <c:v>1873.3143592587003</c:v>
                </c:pt>
                <c:pt idx="88">
                  <c:v>1900.5202437604455</c:v>
                </c:pt>
                <c:pt idx="89">
                  <c:v>1927.2515532276807</c:v>
                </c:pt>
                <c:pt idx="90">
                  <c:v>1953.497947945579</c:v>
                </c:pt>
                <c:pt idx="91">
                  <c:v>1979.250198540806</c:v>
                </c:pt>
                <c:pt idx="92">
                  <c:v>2004.5001743890587</c:v>
                </c:pt>
                <c:pt idx="93">
                  <c:v>2029.2408247150017</c:v>
                </c:pt>
                <c:pt idx="94">
                  <c:v>2053.4661629413667</c:v>
                </c:pt>
                <c:pt idx="95">
                  <c:v>2077.1712446135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91.75455462694651</c:v>
                </c:pt>
                <c:pt idx="43">
                  <c:v>518.23143467312252</c:v>
                </c:pt>
                <c:pt idx="44">
                  <c:v>545.46061831618476</c:v>
                </c:pt>
                <c:pt idx="45">
                  <c:v>573.57665208042829</c:v>
                </c:pt>
                <c:pt idx="46">
                  <c:v>602.63250207674457</c:v>
                </c:pt>
                <c:pt idx="47">
                  <c:v>632.50917290614871</c:v>
                </c:pt>
                <c:pt idx="48">
                  <c:v>663.22845265711203</c:v>
                </c:pt>
                <c:pt idx="49">
                  <c:v>694.70554196379339</c:v>
                </c:pt>
                <c:pt idx="50">
                  <c:v>726.89610197741888</c:v>
                </c:pt>
                <c:pt idx="51">
                  <c:v>759.87460092618869</c:v>
                </c:pt>
                <c:pt idx="52">
                  <c:v>793.5639720133621</c:v>
                </c:pt>
                <c:pt idx="53">
                  <c:v>827.95722240966916</c:v>
                </c:pt>
                <c:pt idx="54">
                  <c:v>863.14342212013526</c:v>
                </c:pt>
                <c:pt idx="55">
                  <c:v>899.01589122658754</c:v>
                </c:pt>
                <c:pt idx="56">
                  <c:v>935.54156226355167</c:v>
                </c:pt>
                <c:pt idx="57">
                  <c:v>972.75018848132834</c:v>
                </c:pt>
                <c:pt idx="58">
                  <c:v>1010.5908336262586</c:v>
                </c:pt>
                <c:pt idx="59">
                  <c:v>1049.0227789346031</c:v>
                </c:pt>
                <c:pt idx="60">
                  <c:v>1088.0511855184645</c:v>
                </c:pt>
                <c:pt idx="61">
                  <c:v>1127.6543299088216</c:v>
                </c:pt>
                <c:pt idx="62">
                  <c:v>1167.777043825723</c:v>
                </c:pt>
                <c:pt idx="63">
                  <c:v>1208.3767076248641</c:v>
                </c:pt>
                <c:pt idx="64">
                  <c:v>1249.4402095402884</c:v>
                </c:pt>
                <c:pt idx="65">
                  <c:v>1290.8945395163578</c:v>
                </c:pt>
                <c:pt idx="66">
                  <c:v>1332.7094145176943</c:v>
                </c:pt>
                <c:pt idx="67">
                  <c:v>1374.8879290293926</c:v>
                </c:pt>
                <c:pt idx="68">
                  <c:v>1417.3421742538867</c:v>
                </c:pt>
                <c:pt idx="69">
                  <c:v>1460.0399919113706</c:v>
                </c:pt>
                <c:pt idx="70">
                  <c:v>1502.9354131126406</c:v>
                </c:pt>
                <c:pt idx="71">
                  <c:v>1545.9814568458285</c:v>
                </c:pt>
                <c:pt idx="72">
                  <c:v>1589.1311029844233</c:v>
                </c:pt>
                <c:pt idx="73">
                  <c:v>1632.3373651577679</c:v>
                </c:pt>
                <c:pt idx="74">
                  <c:v>1675.5530826687964</c:v>
                </c:pt>
                <c:pt idx="75">
                  <c:v>1718.7310400829354</c:v>
                </c:pt>
                <c:pt idx="76">
                  <c:v>1761.8241869217543</c:v>
                </c:pt>
                <c:pt idx="77">
                  <c:v>1804.7858456751287</c:v>
                </c:pt>
                <c:pt idx="78">
                  <c:v>1847.5700005892609</c:v>
                </c:pt>
                <c:pt idx="79">
                  <c:v>1890.13150908846</c:v>
                </c:pt>
                <c:pt idx="80">
                  <c:v>1932.4262558246846</c:v>
                </c:pt>
                <c:pt idx="81">
                  <c:v>1974.4113033925773</c:v>
                </c:pt>
                <c:pt idx="82">
                  <c:v>2016.04502791919</c:v>
                </c:pt>
                <c:pt idx="83">
                  <c:v>2057.2872407504315</c:v>
                </c:pt>
                <c:pt idx="84">
                  <c:v>2098.0993239054724</c:v>
                </c:pt>
                <c:pt idx="85">
                  <c:v>2138.4443539254339</c:v>
                </c:pt>
                <c:pt idx="86">
                  <c:v>2178.2872019377683</c:v>
                </c:pt>
                <c:pt idx="87">
                  <c:v>2217.5946284842153</c:v>
                </c:pt>
                <c:pt idx="88">
                  <c:v>2256.3353684877238</c:v>
                </c:pt>
                <c:pt idx="89">
                  <c:v>2294.480189889262</c:v>
                </c:pt>
                <c:pt idx="90">
                  <c:v>2332.0019364547234</c:v>
                </c:pt>
                <c:pt idx="91">
                  <c:v>2368.8755734145152</c:v>
                </c:pt>
                <c:pt idx="92">
                  <c:v>2405.0782127133771</c:v>
                </c:pt>
                <c:pt idx="93">
                  <c:v>2440.5891209074534</c:v>
                </c:pt>
                <c:pt idx="94">
                  <c:v>2475.3897242677585</c:v>
                </c:pt>
                <c:pt idx="95">
                  <c:v>2509.4635983306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92.27112830817919</c:v>
                </c:pt>
                <c:pt idx="43">
                  <c:v>519.47535608831095</c:v>
                </c:pt>
                <c:pt idx="44">
                  <c:v>547.67048912981227</c:v>
                </c:pt>
                <c:pt idx="45">
                  <c:v>577.01871985043783</c:v>
                </c:pt>
                <c:pt idx="46">
                  <c:v>607.60047723678304</c:v>
                </c:pt>
                <c:pt idx="47">
                  <c:v>639.32359977404667</c:v>
                </c:pt>
                <c:pt idx="48">
                  <c:v>672.23446900699423</c:v>
                </c:pt>
                <c:pt idx="49">
                  <c:v>706.27131489670967</c:v>
                </c:pt>
                <c:pt idx="50">
                  <c:v>741.41095607074919</c:v>
                </c:pt>
                <c:pt idx="51">
                  <c:v>777.74733525487591</c:v>
                </c:pt>
                <c:pt idx="52">
                  <c:v>815.22167771206819</c:v>
                </c:pt>
                <c:pt idx="53">
                  <c:v>853.84335747772616</c:v>
                </c:pt>
                <c:pt idx="54">
                  <c:v>893.71598004680629</c:v>
                </c:pt>
                <c:pt idx="55">
                  <c:v>934.74554769631345</c:v>
                </c:pt>
                <c:pt idx="56">
                  <c:v>976.90961526712624</c:v>
                </c:pt>
                <c:pt idx="57">
                  <c:v>1020.2462850748911</c:v>
                </c:pt>
                <c:pt idx="58">
                  <c:v>1064.7109329517712</c:v>
                </c:pt>
                <c:pt idx="59">
                  <c:v>1110.2669582297988</c:v>
                </c:pt>
                <c:pt idx="60">
                  <c:v>1156.9209590112393</c:v>
                </c:pt>
                <c:pt idx="61">
                  <c:v>1204.6499282503205</c:v>
                </c:pt>
                <c:pt idx="62">
                  <c:v>1253.3947688856806</c:v>
                </c:pt>
                <c:pt idx="63">
                  <c:v>1303.1060821116366</c:v>
                </c:pt>
                <c:pt idx="64">
                  <c:v>1353.7611279770392</c:v>
                </c:pt>
                <c:pt idx="65">
                  <c:v>1405.2751636891894</c:v>
                </c:pt>
                <c:pt idx="66">
                  <c:v>1457.6038605815811</c:v>
                </c:pt>
                <c:pt idx="67">
                  <c:v>1510.7333121379897</c:v>
                </c:pt>
                <c:pt idx="68">
                  <c:v>1564.5560310252943</c:v>
                </c:pt>
                <c:pt idx="69">
                  <c:v>1619.0176206340811</c:v>
                </c:pt>
                <c:pt idx="70">
                  <c:v>1674.0474846061109</c:v>
                </c:pt>
                <c:pt idx="71">
                  <c:v>1729.5718110799564</c:v>
                </c:pt>
                <c:pt idx="72">
                  <c:v>1785.5150006517456</c:v>
                </c:pt>
                <c:pt idx="73">
                  <c:v>1841.7998948802324</c:v>
                </c:pt>
                <c:pt idx="74">
                  <c:v>1898.3476424990197</c:v>
                </c:pt>
                <c:pt idx="75">
                  <c:v>1955.0780258127982</c:v>
                </c:pt>
                <c:pt idx="76">
                  <c:v>2011.9099337653811</c:v>
                </c:pt>
                <c:pt idx="77">
                  <c:v>2068.7618267146527</c:v>
                </c:pt>
                <c:pt idx="78">
                  <c:v>2125.5523190773556</c:v>
                </c:pt>
                <c:pt idx="79">
                  <c:v>2182.2006607657604</c:v>
                </c:pt>
                <c:pt idx="80">
                  <c:v>2238.6271424205252</c:v>
                </c:pt>
                <c:pt idx="81">
                  <c:v>2294.7534941749072</c:v>
                </c:pt>
                <c:pt idx="82">
                  <c:v>2350.5032605735651</c:v>
                </c:pt>
                <c:pt idx="83">
                  <c:v>2405.802150265823</c:v>
                </c:pt>
                <c:pt idx="84">
                  <c:v>2460.5783936750463</c:v>
                </c:pt>
                <c:pt idx="85">
                  <c:v>2514.763073831873</c:v>
                </c:pt>
                <c:pt idx="86">
                  <c:v>2568.2904125037994</c:v>
                </c:pt>
                <c:pt idx="87">
                  <c:v>2621.0980338943696</c:v>
                </c:pt>
                <c:pt idx="88">
                  <c:v>2673.1271994571375</c:v>
                </c:pt>
                <c:pt idx="89">
                  <c:v>2724.3229908339404</c:v>
                </c:pt>
                <c:pt idx="90">
                  <c:v>2774.6344538390022</c:v>
                </c:pt>
                <c:pt idx="91">
                  <c:v>2824.0147287472741</c:v>
                </c:pt>
                <c:pt idx="92">
                  <c:v>2872.4211357551712</c:v>
                </c:pt>
                <c:pt idx="93">
                  <c:v>2919.8152202006418</c:v>
                </c:pt>
                <c:pt idx="94">
                  <c:v>2966.162777510247</c:v>
                </c:pt>
                <c:pt idx="95">
                  <c:v>3011.4338419844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7</c:v>
                </c:pt>
                <c:pt idx="2">
                  <c:v>39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5</c:v>
                </c:pt>
                <c:pt idx="7">
                  <c:v>64</c:v>
                </c:pt>
                <c:pt idx="8">
                  <c:v>66</c:v>
                </c:pt>
                <c:pt idx="9">
                  <c:v>71</c:v>
                </c:pt>
                <c:pt idx="10">
                  <c:v>76</c:v>
                </c:pt>
                <c:pt idx="11">
                  <c:v>82</c:v>
                </c:pt>
                <c:pt idx="12">
                  <c:v>87</c:v>
                </c:pt>
                <c:pt idx="13">
                  <c:v>90</c:v>
                </c:pt>
                <c:pt idx="14">
                  <c:v>102</c:v>
                </c:pt>
                <c:pt idx="15">
                  <c:v>113</c:v>
                </c:pt>
                <c:pt idx="16">
                  <c:v>125</c:v>
                </c:pt>
                <c:pt idx="17">
                  <c:v>141</c:v>
                </c:pt>
                <c:pt idx="18">
                  <c:v>154</c:v>
                </c:pt>
                <c:pt idx="19">
                  <c:v>171</c:v>
                </c:pt>
                <c:pt idx="20">
                  <c:v>179</c:v>
                </c:pt>
                <c:pt idx="21">
                  <c:v>185</c:v>
                </c:pt>
                <c:pt idx="22">
                  <c:v>203</c:v>
                </c:pt>
                <c:pt idx="23">
                  <c:v>213</c:v>
                </c:pt>
                <c:pt idx="24">
                  <c:v>229</c:v>
                </c:pt>
                <c:pt idx="25">
                  <c:v>241</c:v>
                </c:pt>
                <c:pt idx="26">
                  <c:v>258</c:v>
                </c:pt>
                <c:pt idx="27">
                  <c:v>278</c:v>
                </c:pt>
                <c:pt idx="28">
                  <c:v>296</c:v>
                </c:pt>
                <c:pt idx="29">
                  <c:v>314</c:v>
                </c:pt>
                <c:pt idx="30">
                  <c:v>330</c:v>
                </c:pt>
                <c:pt idx="31">
                  <c:v>353</c:v>
                </c:pt>
                <c:pt idx="32">
                  <c:v>380</c:v>
                </c:pt>
                <c:pt idx="33">
                  <c:v>403</c:v>
                </c:pt>
                <c:pt idx="34">
                  <c:v>443</c:v>
                </c:pt>
                <c:pt idx="35">
                  <c:v>470</c:v>
                </c:pt>
                <c:pt idx="36">
                  <c:v>491</c:v>
                </c:pt>
                <c:pt idx="37">
                  <c:v>504</c:v>
                </c:pt>
                <c:pt idx="38">
                  <c:v>543</c:v>
                </c:pt>
                <c:pt idx="39">
                  <c:v>596</c:v>
                </c:pt>
                <c:pt idx="40">
                  <c:v>623</c:v>
                </c:pt>
                <c:pt idx="41">
                  <c:v>662</c:v>
                </c:pt>
                <c:pt idx="42">
                  <c:v>701</c:v>
                </c:pt>
                <c:pt idx="43">
                  <c:v>725</c:v>
                </c:pt>
                <c:pt idx="44">
                  <c:v>739</c:v>
                </c:pt>
                <c:pt idx="45">
                  <c:v>784</c:v>
                </c:pt>
                <c:pt idx="46">
                  <c:v>829</c:v>
                </c:pt>
                <c:pt idx="47">
                  <c:v>874</c:v>
                </c:pt>
                <c:pt idx="48">
                  <c:v>916</c:v>
                </c:pt>
                <c:pt idx="49">
                  <c:v>963</c:v>
                </c:pt>
                <c:pt idx="50">
                  <c:v>1010</c:v>
                </c:pt>
                <c:pt idx="51">
                  <c:v>1050</c:v>
                </c:pt>
                <c:pt idx="52">
                  <c:v>1119</c:v>
                </c:pt>
                <c:pt idx="53">
                  <c:v>1150</c:v>
                </c:pt>
                <c:pt idx="54">
                  <c:v>1200</c:v>
                </c:pt>
                <c:pt idx="55">
                  <c:v>1250</c:v>
                </c:pt>
                <c:pt idx="56">
                  <c:v>1295</c:v>
                </c:pt>
                <c:pt idx="57">
                  <c:v>1336</c:v>
                </c:pt>
                <c:pt idx="58">
                  <c:v>1370</c:v>
                </c:pt>
                <c:pt idx="59">
                  <c:v>1419</c:v>
                </c:pt>
                <c:pt idx="60">
                  <c:v>1468</c:v>
                </c:pt>
                <c:pt idx="61">
                  <c:v>1525</c:v>
                </c:pt>
                <c:pt idx="62">
                  <c:v>1573</c:v>
                </c:pt>
                <c:pt idx="63">
                  <c:v>1627</c:v>
                </c:pt>
                <c:pt idx="64">
                  <c:v>1653</c:v>
                </c:pt>
                <c:pt idx="65">
                  <c:v>1684</c:v>
                </c:pt>
                <c:pt idx="66">
                  <c:v>1727</c:v>
                </c:pt>
                <c:pt idx="67">
                  <c:v>1769</c:v>
                </c:pt>
                <c:pt idx="68">
                  <c:v>1815</c:v>
                </c:pt>
                <c:pt idx="69">
                  <c:v>1849</c:v>
                </c:pt>
                <c:pt idx="70">
                  <c:v>1915</c:v>
                </c:pt>
                <c:pt idx="71">
                  <c:v>1927</c:v>
                </c:pt>
                <c:pt idx="72">
                  <c:v>1957</c:v>
                </c:pt>
                <c:pt idx="73">
                  <c:v>2012</c:v>
                </c:pt>
                <c:pt idx="74">
                  <c:v>2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1.18396479610965</c:v>
                </c:pt>
                <c:pt idx="43">
                  <c:v>720.98198050685801</c:v>
                </c:pt>
                <c:pt idx="44">
                  <c:v>751.41442084717255</c:v>
                </c:pt>
                <c:pt idx="45">
                  <c:v>782.61070384028233</c:v>
                </c:pt>
                <c:pt idx="46">
                  <c:v>814.6063273756497</c:v>
                </c:pt>
                <c:pt idx="47">
                  <c:v>847.22411781274582</c:v>
                </c:pt>
                <c:pt idx="48">
                  <c:v>880.45942463520646</c:v>
                </c:pt>
                <c:pt idx="49">
                  <c:v>914.18098716801762</c:v>
                </c:pt>
                <c:pt idx="50">
                  <c:v>948.33177336964604</c:v>
                </c:pt>
                <c:pt idx="51">
                  <c:v>982.9840906487475</c:v>
                </c:pt>
                <c:pt idx="52">
                  <c:v>1018.0238194405249</c:v>
                </c:pt>
                <c:pt idx="53">
                  <c:v>1053.4372058114441</c:v>
                </c:pt>
                <c:pt idx="54">
                  <c:v>1089.3136193268401</c:v>
                </c:pt>
                <c:pt idx="55">
                  <c:v>1125.5231431140073</c:v>
                </c:pt>
                <c:pt idx="56">
                  <c:v>1162.0218099025656</c:v>
                </c:pt>
                <c:pt idx="57">
                  <c:v>1198.8420362934735</c:v>
                </c:pt>
                <c:pt idx="58">
                  <c:v>1235.9256968843792</c:v>
                </c:pt>
                <c:pt idx="59">
                  <c:v>1273.220388284436</c:v>
                </c:pt>
                <c:pt idx="60">
                  <c:v>1310.7308360437651</c:v>
                </c:pt>
                <c:pt idx="61">
                  <c:v>1348.4484948261238</c:v>
                </c:pt>
                <c:pt idx="62">
                  <c:v>1386.3098494617452</c:v>
                </c:pt>
                <c:pt idx="63">
                  <c:v>1424.2751129420287</c:v>
                </c:pt>
                <c:pt idx="64">
                  <c:v>1462.345037850208</c:v>
                </c:pt>
                <c:pt idx="65">
                  <c:v>1500.447933444585</c:v>
                </c:pt>
                <c:pt idx="66">
                  <c:v>1538.560623815079</c:v>
                </c:pt>
                <c:pt idx="67">
                  <c:v>1576.6965284089554</c:v>
                </c:pt>
                <c:pt idx="68">
                  <c:v>1614.7778349288983</c:v>
                </c:pt>
                <c:pt idx="69">
                  <c:v>1652.7849954015182</c:v>
                </c:pt>
                <c:pt idx="70">
                  <c:v>1690.6857258015543</c:v>
                </c:pt>
                <c:pt idx="71">
                  <c:v>1728.4478882423666</c:v>
                </c:pt>
                <c:pt idx="72">
                  <c:v>1766.0402470899253</c:v>
                </c:pt>
                <c:pt idx="73">
                  <c:v>1803.4324634853549</c:v>
                </c:pt>
                <c:pt idx="74">
                  <c:v>1840.5948519377032</c:v>
                </c:pt>
                <c:pt idx="75">
                  <c:v>1877.4983946954735</c:v>
                </c:pt>
                <c:pt idx="76">
                  <c:v>1914.1148392593163</c:v>
                </c:pt>
                <c:pt idx="77">
                  <c:v>1950.4167854000543</c:v>
                </c:pt>
                <c:pt idx="78">
                  <c:v>1986.3778302708724</c:v>
                </c:pt>
                <c:pt idx="79">
                  <c:v>2021.9726563539461</c:v>
                </c:pt>
                <c:pt idx="80">
                  <c:v>2057.1770714064974</c:v>
                </c:pt>
                <c:pt idx="81">
                  <c:v>2091.9680475869809</c:v>
                </c:pt>
                <c:pt idx="82">
                  <c:v>2126.3237475669866</c:v>
                </c:pt>
                <c:pt idx="83">
                  <c:v>2160.2235413298049</c:v>
                </c:pt>
                <c:pt idx="84">
                  <c:v>2193.6480411597704</c:v>
                </c:pt>
                <c:pt idx="85">
                  <c:v>2226.5791293184589</c:v>
                </c:pt>
                <c:pt idx="86">
                  <c:v>2258.9999693089912</c:v>
                </c:pt>
                <c:pt idx="87">
                  <c:v>2290.8950196938572</c:v>
                </c:pt>
                <c:pt idx="88">
                  <c:v>2322.2500460187566</c:v>
                </c:pt>
                <c:pt idx="89">
                  <c:v>2353.052115409123</c:v>
                </c:pt>
                <c:pt idx="90">
                  <c:v>2383.2895828681621</c:v>
                </c:pt>
                <c:pt idx="91">
                  <c:v>2412.9520889101691</c:v>
                </c:pt>
                <c:pt idx="92">
                  <c:v>2442.03054434467</c:v>
                </c:pt>
                <c:pt idx="93">
                  <c:v>2470.5171063295229</c:v>
                </c:pt>
                <c:pt idx="94">
                  <c:v>2498.4051588760158</c:v>
                </c:pt>
                <c:pt idx="95">
                  <c:v>2525.6892868848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1.78867231305719</c:v>
                </c:pt>
                <c:pt idx="43">
                  <c:v>722.43353461099764</c:v>
                </c:pt>
                <c:pt idx="44">
                  <c:v>753.98346861498135</c:v>
                </c:pt>
                <c:pt idx="45">
                  <c:v>786.59535921599831</c:v>
                </c:pt>
                <c:pt idx="46">
                  <c:v>820.33120840869242</c:v>
                </c:pt>
                <c:pt idx="47">
                  <c:v>855.03885445358685</c:v>
                </c:pt>
                <c:pt idx="48">
                  <c:v>890.73518292032827</c:v>
                </c:pt>
                <c:pt idx="49">
                  <c:v>927.30802177910732</c:v>
                </c:pt>
                <c:pt idx="50">
                  <c:v>964.7167087536626</c:v>
                </c:pt>
                <c:pt idx="51">
                  <c:v>1003.0476216321799</c:v>
                </c:pt>
                <c:pt idx="52">
                  <c:v>1042.199198519058</c:v>
                </c:pt>
                <c:pt idx="53">
                  <c:v>1082.1679101078123</c:v>
                </c:pt>
                <c:pt idx="54">
                  <c:v>1123.0513692268671</c:v>
                </c:pt>
                <c:pt idx="55">
                  <c:v>1164.7259682138088</c:v>
                </c:pt>
                <c:pt idx="56">
                  <c:v>1207.1519884828397</c:v>
                </c:pt>
                <c:pt idx="57">
                  <c:v>1250.3639847446243</c:v>
                </c:pt>
                <c:pt idx="58">
                  <c:v>1294.3042235584203</c:v>
                </c:pt>
                <c:pt idx="59">
                  <c:v>1338.9188686679774</c:v>
                </c:pt>
                <c:pt idx="60">
                  <c:v>1384.2090221402011</c:v>
                </c:pt>
                <c:pt idx="61">
                  <c:v>1430.1603886809712</c:v>
                </c:pt>
                <c:pt idx="62">
                  <c:v>1476.7018283037564</c:v>
                </c:pt>
                <c:pt idx="63">
                  <c:v>1523.783798700289</c:v>
                </c:pt>
                <c:pt idx="64">
                  <c:v>1571.3952449072897</c:v>
                </c:pt>
                <c:pt idx="65">
                  <c:v>1619.4514742765302</c:v>
                </c:pt>
                <c:pt idx="66">
                  <c:v>1667.9148688883756</c:v>
                </c:pt>
                <c:pt idx="67">
                  <c:v>1716.7824110719919</c:v>
                </c:pt>
                <c:pt idx="68">
                  <c:v>1765.9582518079039</c:v>
                </c:pt>
                <c:pt idx="69">
                  <c:v>1815.4031177192726</c:v>
                </c:pt>
                <c:pt idx="70">
                  <c:v>1865.0635552617318</c:v>
                </c:pt>
                <c:pt idx="71">
                  <c:v>1914.8849535455658</c:v>
                </c:pt>
                <c:pt idx="72">
                  <c:v>1964.8127028603715</c:v>
                </c:pt>
                <c:pt idx="73">
                  <c:v>2014.7922895723905</c:v>
                </c:pt>
                <c:pt idx="74">
                  <c:v>2064.7690627410416</c:v>
                </c:pt>
                <c:pt idx="75">
                  <c:v>2114.6883697963281</c:v>
                </c:pt>
                <c:pt idx="76">
                  <c:v>2164.4958112759414</c:v>
                </c:pt>
                <c:pt idx="77">
                  <c:v>2214.1374811066025</c:v>
                </c:pt>
                <c:pt idx="78">
                  <c:v>2263.560291903369</c:v>
                </c:pt>
                <c:pt idx="79">
                  <c:v>2312.7122205172259</c:v>
                </c:pt>
                <c:pt idx="80">
                  <c:v>2361.5424851679163</c:v>
                </c:pt>
                <c:pt idx="81">
                  <c:v>2410.0017185997749</c:v>
                </c:pt>
                <c:pt idx="82">
                  <c:v>2458.0421211590233</c:v>
                </c:pt>
                <c:pt idx="83">
                  <c:v>2505.6175974774001</c:v>
                </c:pt>
                <c:pt idx="84">
                  <c:v>2552.6839116220135</c:v>
                </c:pt>
                <c:pt idx="85">
                  <c:v>2599.1988266007329</c:v>
                </c:pt>
                <c:pt idx="86">
                  <c:v>2645.1222148269271</c:v>
                </c:pt>
                <c:pt idx="87">
                  <c:v>2690.4161641370429</c:v>
                </c:pt>
                <c:pt idx="88">
                  <c:v>2735.0450736675998</c:v>
                </c:pt>
                <c:pt idx="89">
                  <c:v>2778.9757178751065</c:v>
                </c:pt>
                <c:pt idx="90">
                  <c:v>2822.1772902948765</c:v>
                </c:pt>
                <c:pt idx="91">
                  <c:v>2864.6214544846257</c:v>
                </c:pt>
                <c:pt idx="92">
                  <c:v>2906.2823686154716</c:v>
                </c:pt>
                <c:pt idx="93">
                  <c:v>2947.1366895911906</c:v>
                </c:pt>
                <c:pt idx="94">
                  <c:v>2987.1635749223251</c:v>
                </c:pt>
                <c:pt idx="95">
                  <c:v>3026.3446679764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2.39722535772285</c:v>
                </c:pt>
                <c:pt idx="43">
                  <c:v>723.89898029250037</c:v>
                </c:pt>
                <c:pt idx="44">
                  <c:v>756.58678896350773</c:v>
                </c:pt>
                <c:pt idx="45">
                  <c:v>790.64994802143099</c:v>
                </c:pt>
                <c:pt idx="46">
                  <c:v>826.18262488891673</c:v>
                </c:pt>
                <c:pt idx="47">
                  <c:v>863.06397577194434</c:v>
                </c:pt>
                <c:pt idx="48">
                  <c:v>901.33930438697894</c:v>
                </c:pt>
                <c:pt idx="49">
                  <c:v>940.92290245617187</c:v>
                </c:pt>
                <c:pt idx="50">
                  <c:v>981.79822451954055</c:v>
                </c:pt>
                <c:pt idx="51">
                  <c:v>1024.0737376405916</c:v>
                </c:pt>
                <c:pt idx="52">
                  <c:v>1067.6686012886444</c:v>
                </c:pt>
                <c:pt idx="53">
                  <c:v>1112.5976592472025</c:v>
                </c:pt>
                <c:pt idx="54">
                  <c:v>1158.9747761482995</c:v>
                </c:pt>
                <c:pt idx="55">
                  <c:v>1206.6903802851739</c:v>
                </c:pt>
                <c:pt idx="56">
                  <c:v>1255.7163602154753</c:v>
                </c:pt>
                <c:pt idx="57">
                  <c:v>1306.096226539885</c:v>
                </c:pt>
                <c:pt idx="58">
                  <c:v>1357.7788408241654</c:v>
                </c:pt>
                <c:pt idx="59">
                  <c:v>1410.7144024138042</c:v>
                </c:pt>
                <c:pt idx="60">
                  <c:v>1464.9049275724917</c:v>
                </c:pt>
                <c:pt idx="61">
                  <c:v>1520.3338780765832</c:v>
                </c:pt>
                <c:pt idx="62">
                  <c:v>1576.9248539204091</c:v>
                </c:pt>
                <c:pt idx="63">
                  <c:v>1634.6197244670338</c:v>
                </c:pt>
                <c:pt idx="64">
                  <c:v>1693.3955207854274</c:v>
                </c:pt>
                <c:pt idx="65">
                  <c:v>1753.1532434647254</c:v>
                </c:pt>
                <c:pt idx="66">
                  <c:v>1813.8382954825447</c:v>
                </c:pt>
                <c:pt idx="67">
                  <c:v>1875.4272825901387</c:v>
                </c:pt>
                <c:pt idx="68">
                  <c:v>1937.8010140306615</c:v>
                </c:pt>
                <c:pt idx="69">
                  <c:v>2000.8938466466648</c:v>
                </c:pt>
                <c:pt idx="70">
                  <c:v>2064.6232379176408</c:v>
                </c:pt>
                <c:pt idx="71">
                  <c:v>2128.9029726640651</c:v>
                </c:pt>
                <c:pt idx="72">
                  <c:v>2193.6448655521326</c:v>
                </c:pt>
                <c:pt idx="73">
                  <c:v>2258.7590446280974</c:v>
                </c:pt>
                <c:pt idx="74">
                  <c:v>2324.1538106146959</c:v>
                </c:pt>
                <c:pt idx="75">
                  <c:v>2389.7360148682546</c:v>
                </c:pt>
                <c:pt idx="76">
                  <c:v>2455.411610833185</c:v>
                </c:pt>
                <c:pt idx="77">
                  <c:v>2521.0861937993877</c:v>
                </c:pt>
                <c:pt idx="78">
                  <c:v>2586.6656647848904</c:v>
                </c:pt>
                <c:pt idx="79">
                  <c:v>2652.0567899857242</c:v>
                </c:pt>
                <c:pt idx="80">
                  <c:v>2717.1676685982288</c:v>
                </c:pt>
                <c:pt idx="81">
                  <c:v>2781.9081919084824</c:v>
                </c:pt>
                <c:pt idx="82">
                  <c:v>2846.190470572873</c:v>
                </c:pt>
                <c:pt idx="83">
                  <c:v>2909.9292317684517</c:v>
                </c:pt>
                <c:pt idx="84">
                  <c:v>2973.0422280743305</c:v>
                </c:pt>
                <c:pt idx="85">
                  <c:v>3035.4506119025309</c:v>
                </c:pt>
                <c:pt idx="86">
                  <c:v>3097.0792555170506</c:v>
                </c:pt>
                <c:pt idx="87">
                  <c:v>3157.8570468385205</c:v>
                </c:pt>
                <c:pt idx="88">
                  <c:v>3217.717153109983</c:v>
                </c:pt>
                <c:pt idx="89">
                  <c:v>3276.5972223826248</c:v>
                </c:pt>
                <c:pt idx="90">
                  <c:v>3334.4395372225458</c:v>
                </c:pt>
                <c:pt idx="91">
                  <c:v>3391.1911576954362</c:v>
                </c:pt>
                <c:pt idx="92">
                  <c:v>3446.8040088075718</c:v>
                </c:pt>
                <c:pt idx="93">
                  <c:v>3501.2349209320905</c:v>
                </c:pt>
                <c:pt idx="94">
                  <c:v>3554.445648262445</c:v>
                </c:pt>
                <c:pt idx="95">
                  <c:v>3606.4028474764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9</c:v>
                </c:pt>
                <c:pt idx="1">
                  <c:v>53</c:v>
                </c:pt>
                <c:pt idx="2">
                  <c:v>53</c:v>
                </c:pt>
                <c:pt idx="3">
                  <c:v>61</c:v>
                </c:pt>
                <c:pt idx="4">
                  <c:v>66</c:v>
                </c:pt>
                <c:pt idx="5">
                  <c:v>72</c:v>
                </c:pt>
                <c:pt idx="6">
                  <c:v>69</c:v>
                </c:pt>
                <c:pt idx="7">
                  <c:v>72</c:v>
                </c:pt>
                <c:pt idx="8">
                  <c:v>69</c:v>
                </c:pt>
                <c:pt idx="9">
                  <c:v>73</c:v>
                </c:pt>
                <c:pt idx="10">
                  <c:v>74</c:v>
                </c:pt>
                <c:pt idx="11">
                  <c:v>78</c:v>
                </c:pt>
                <c:pt idx="12">
                  <c:v>77</c:v>
                </c:pt>
                <c:pt idx="13">
                  <c:v>82</c:v>
                </c:pt>
                <c:pt idx="14">
                  <c:v>72</c:v>
                </c:pt>
                <c:pt idx="15">
                  <c:v>72</c:v>
                </c:pt>
                <c:pt idx="16">
                  <c:v>70</c:v>
                </c:pt>
                <c:pt idx="17">
                  <c:v>88</c:v>
                </c:pt>
                <c:pt idx="18">
                  <c:v>89</c:v>
                </c:pt>
                <c:pt idx="19">
                  <c:v>92</c:v>
                </c:pt>
                <c:pt idx="20">
                  <c:v>92</c:v>
                </c:pt>
                <c:pt idx="21">
                  <c:v>101</c:v>
                </c:pt>
                <c:pt idx="22">
                  <c:v>107</c:v>
                </c:pt>
                <c:pt idx="23">
                  <c:v>114</c:v>
                </c:pt>
                <c:pt idx="24">
                  <c:v>122</c:v>
                </c:pt>
                <c:pt idx="25">
                  <c:v>137</c:v>
                </c:pt>
                <c:pt idx="26">
                  <c:v>143</c:v>
                </c:pt>
                <c:pt idx="27">
                  <c:v>129</c:v>
                </c:pt>
                <c:pt idx="28">
                  <c:v>143</c:v>
                </c:pt>
                <c:pt idx="29">
                  <c:v>147</c:v>
                </c:pt>
                <c:pt idx="30">
                  <c:v>165</c:v>
                </c:pt>
                <c:pt idx="31">
                  <c:v>199</c:v>
                </c:pt>
                <c:pt idx="32">
                  <c:v>238</c:v>
                </c:pt>
                <c:pt idx="33">
                  <c:v>276</c:v>
                </c:pt>
                <c:pt idx="34">
                  <c:v>296</c:v>
                </c:pt>
                <c:pt idx="35">
                  <c:v>319</c:v>
                </c:pt>
                <c:pt idx="36">
                  <c:v>320</c:v>
                </c:pt>
                <c:pt idx="37">
                  <c:v>328</c:v>
                </c:pt>
                <c:pt idx="38">
                  <c:v>375</c:v>
                </c:pt>
                <c:pt idx="39">
                  <c:v>385</c:v>
                </c:pt>
                <c:pt idx="40">
                  <c:v>390</c:v>
                </c:pt>
                <c:pt idx="41">
                  <c:v>400</c:v>
                </c:pt>
                <c:pt idx="42">
                  <c:v>418</c:v>
                </c:pt>
                <c:pt idx="43">
                  <c:v>432</c:v>
                </c:pt>
                <c:pt idx="44">
                  <c:v>441</c:v>
                </c:pt>
                <c:pt idx="45">
                  <c:v>502</c:v>
                </c:pt>
                <c:pt idx="46">
                  <c:v>523</c:v>
                </c:pt>
                <c:pt idx="47">
                  <c:v>527</c:v>
                </c:pt>
                <c:pt idx="48">
                  <c:v>564</c:v>
                </c:pt>
                <c:pt idx="49">
                  <c:v>583</c:v>
                </c:pt>
                <c:pt idx="50">
                  <c:v>575</c:v>
                </c:pt>
                <c:pt idx="51">
                  <c:v>591</c:v>
                </c:pt>
                <c:pt idx="52">
                  <c:v>661</c:v>
                </c:pt>
                <c:pt idx="53">
                  <c:v>710</c:v>
                </c:pt>
                <c:pt idx="54">
                  <c:v>716</c:v>
                </c:pt>
                <c:pt idx="55">
                  <c:v>765</c:v>
                </c:pt>
                <c:pt idx="56">
                  <c:v>697</c:v>
                </c:pt>
                <c:pt idx="57">
                  <c:v>697</c:v>
                </c:pt>
                <c:pt idx="58">
                  <c:v>692</c:v>
                </c:pt>
                <c:pt idx="59">
                  <c:v>800</c:v>
                </c:pt>
                <c:pt idx="60">
                  <c:v>798</c:v>
                </c:pt>
                <c:pt idx="61">
                  <c:v>803</c:v>
                </c:pt>
                <c:pt idx="62">
                  <c:v>794</c:v>
                </c:pt>
                <c:pt idx="63">
                  <c:v>790</c:v>
                </c:pt>
                <c:pt idx="64">
                  <c:v>775</c:v>
                </c:pt>
                <c:pt idx="65">
                  <c:v>774</c:v>
                </c:pt>
                <c:pt idx="66">
                  <c:v>809</c:v>
                </c:pt>
                <c:pt idx="67">
                  <c:v>791</c:v>
                </c:pt>
                <c:pt idx="68">
                  <c:v>751</c:v>
                </c:pt>
                <c:pt idx="69">
                  <c:v>734</c:v>
                </c:pt>
                <c:pt idx="70">
                  <c:v>699</c:v>
                </c:pt>
                <c:pt idx="71">
                  <c:v>664</c:v>
                </c:pt>
                <c:pt idx="72">
                  <c:v>651</c:v>
                </c:pt>
                <c:pt idx="73">
                  <c:v>710</c:v>
                </c:pt>
                <c:pt idx="74">
                  <c:v>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44.09228172645498</c:v>
                </c:pt>
                <c:pt idx="43">
                  <c:v>458.61917102834605</c:v>
                </c:pt>
                <c:pt idx="44">
                  <c:v>473.10540507272935</c:v>
                </c:pt>
                <c:pt idx="45">
                  <c:v>487.00959770617749</c:v>
                </c:pt>
                <c:pt idx="46">
                  <c:v>499.82557477205501</c:v>
                </c:pt>
                <c:pt idx="47">
                  <c:v>511.78878924677275</c:v>
                </c:pt>
                <c:pt idx="48">
                  <c:v>523.37824364188077</c:v>
                </c:pt>
                <c:pt idx="49">
                  <c:v>534.81407080490294</c:v>
                </c:pt>
                <c:pt idx="50">
                  <c:v>546.03552939387976</c:v>
                </c:pt>
                <c:pt idx="51">
                  <c:v>557.61830922717081</c:v>
                </c:pt>
                <c:pt idx="52">
                  <c:v>568.8152387927139</c:v>
                </c:pt>
                <c:pt idx="53">
                  <c:v>578.34067449348163</c:v>
                </c:pt>
                <c:pt idx="54">
                  <c:v>586.99348029037412</c:v>
                </c:pt>
                <c:pt idx="55">
                  <c:v>595.30235910205693</c:v>
                </c:pt>
                <c:pt idx="56">
                  <c:v>603.45054300401262</c:v>
                </c:pt>
                <c:pt idx="57">
                  <c:v>611.51156788272294</c:v>
                </c:pt>
                <c:pt idx="58">
                  <c:v>619.43852407097336</c:v>
                </c:pt>
                <c:pt idx="59">
                  <c:v>627.13640874079931</c:v>
                </c:pt>
                <c:pt idx="60">
                  <c:v>634.207072717757</c:v>
                </c:pt>
                <c:pt idx="61">
                  <c:v>640.73342166519637</c:v>
                </c:pt>
                <c:pt idx="62">
                  <c:v>646.79117878261889</c:v>
                </c:pt>
                <c:pt idx="63">
                  <c:v>652.42436112475389</c:v>
                </c:pt>
                <c:pt idx="64">
                  <c:v>657.57618149116183</c:v>
                </c:pt>
                <c:pt idx="65">
                  <c:v>662.34990475811139</c:v>
                </c:pt>
                <c:pt idx="66">
                  <c:v>666.66279295521713</c:v>
                </c:pt>
                <c:pt idx="67">
                  <c:v>670.53303005356588</c:v>
                </c:pt>
                <c:pt idx="68">
                  <c:v>673.80694058192989</c:v>
                </c:pt>
                <c:pt idx="69">
                  <c:v>676.55295670762212</c:v>
                </c:pt>
                <c:pt idx="70">
                  <c:v>678.83693746215749</c:v>
                </c:pt>
                <c:pt idx="71">
                  <c:v>680.42867680987217</c:v>
                </c:pt>
                <c:pt idx="72">
                  <c:v>681.49066536104021</c:v>
                </c:pt>
                <c:pt idx="73">
                  <c:v>682.04171020049648</c:v>
                </c:pt>
                <c:pt idx="74">
                  <c:v>681.97994488600739</c:v>
                </c:pt>
                <c:pt idx="75">
                  <c:v>681.3432129057453</c:v>
                </c:pt>
                <c:pt idx="76">
                  <c:v>680.14806417437046</c:v>
                </c:pt>
                <c:pt idx="77">
                  <c:v>678.44550898543798</c:v>
                </c:pt>
                <c:pt idx="78">
                  <c:v>676.07526782708692</c:v>
                </c:pt>
                <c:pt idx="79">
                  <c:v>673.18238137922344</c:v>
                </c:pt>
                <c:pt idx="80">
                  <c:v>669.76548791699713</c:v>
                </c:pt>
                <c:pt idx="81">
                  <c:v>665.73909987935986</c:v>
                </c:pt>
                <c:pt idx="82">
                  <c:v>661.12862628961216</c:v>
                </c:pt>
                <c:pt idx="83">
                  <c:v>656.07031504505289</c:v>
                </c:pt>
                <c:pt idx="84">
                  <c:v>650.5151811490374</c:v>
                </c:pt>
                <c:pt idx="85">
                  <c:v>644.36690779865273</c:v>
                </c:pt>
                <c:pt idx="86">
                  <c:v>637.866562212904</c:v>
                </c:pt>
                <c:pt idx="87">
                  <c:v>630.96018675179675</c:v>
                </c:pt>
                <c:pt idx="88">
                  <c:v>623.39725510469157</c:v>
                </c:pt>
                <c:pt idx="89">
                  <c:v>615.5077064659788</c:v>
                </c:pt>
                <c:pt idx="90">
                  <c:v>607.29555732739493</c:v>
                </c:pt>
                <c:pt idx="91">
                  <c:v>598.70023994325152</c:v>
                </c:pt>
                <c:pt idx="92">
                  <c:v>589.60842262109475</c:v>
                </c:pt>
                <c:pt idx="93">
                  <c:v>580.18377457309634</c:v>
                </c:pt>
                <c:pt idx="94">
                  <c:v>570.49641054124697</c:v>
                </c:pt>
                <c:pt idx="95">
                  <c:v>560.51239332728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45.12428534187251</c:v>
                </c:pt>
                <c:pt idx="43">
                  <c:v>461.0534050837025</c:v>
                </c:pt>
                <c:pt idx="44">
                  <c:v>477.33822129434498</c:v>
                </c:pt>
                <c:pt idx="45">
                  <c:v>493.44772675848651</c:v>
                </c:pt>
                <c:pt idx="46">
                  <c:v>508.8961010239384</c:v>
                </c:pt>
                <c:pt idx="47">
                  <c:v>523.91734212414576</c:v>
                </c:pt>
                <c:pt idx="48">
                  <c:v>538.99640317087869</c:v>
                </c:pt>
                <c:pt idx="49">
                  <c:v>554.3432334228778</c:v>
                </c:pt>
                <c:pt idx="50">
                  <c:v>569.89530407858206</c:v>
                </c:pt>
                <c:pt idx="51">
                  <c:v>586.21488052036943</c:v>
                </c:pt>
                <c:pt idx="52">
                  <c:v>602.54725219346165</c:v>
                </c:pt>
                <c:pt idx="53">
                  <c:v>617.59074002966486</c:v>
                </c:pt>
                <c:pt idx="54">
                  <c:v>632.13094568862402</c:v>
                </c:pt>
                <c:pt idx="55">
                  <c:v>646.67409192452408</c:v>
                </c:pt>
                <c:pt idx="56">
                  <c:v>661.3714779238951</c:v>
                </c:pt>
                <c:pt idx="57">
                  <c:v>676.23793278834239</c:v>
                </c:pt>
                <c:pt idx="58">
                  <c:v>691.20778180176194</c:v>
                </c:pt>
                <c:pt idx="59">
                  <c:v>706.1575129957057</c:v>
                </c:pt>
                <c:pt idx="60">
                  <c:v>720.66949640350936</c:v>
                </c:pt>
                <c:pt idx="61">
                  <c:v>734.78794349131454</c:v>
                </c:pt>
                <c:pt idx="62">
                  <c:v>748.55987991356812</c:v>
                </c:pt>
                <c:pt idx="63">
                  <c:v>761.99510081722337</c:v>
                </c:pt>
                <c:pt idx="64">
                  <c:v>774.99565326102697</c:v>
                </c:pt>
                <c:pt idx="65">
                  <c:v>787.62885710707928</c:v>
                </c:pt>
                <c:pt idx="66">
                  <c:v>799.78257148420926</c:v>
                </c:pt>
                <c:pt idx="67">
                  <c:v>811.44082399898514</c:v>
                </c:pt>
                <c:pt idx="68">
                  <c:v>822.41945243580722</c:v>
                </c:pt>
                <c:pt idx="69">
                  <c:v>832.75513956631244</c:v>
                </c:pt>
                <c:pt idx="70">
                  <c:v>842.48076744273362</c:v>
                </c:pt>
                <c:pt idx="71">
                  <c:v>851.33464195250713</c:v>
                </c:pt>
                <c:pt idx="72">
                  <c:v>859.44682409847383</c:v>
                </c:pt>
                <c:pt idx="73">
                  <c:v>866.80793088773089</c:v>
                </c:pt>
                <c:pt idx="74">
                  <c:v>873.28928910645857</c:v>
                </c:pt>
                <c:pt idx="75">
                  <c:v>878.9027151025889</c:v>
                </c:pt>
                <c:pt idx="76">
                  <c:v>883.64038346437405</c:v>
                </c:pt>
                <c:pt idx="77">
                  <c:v>887.53246109384031</c:v>
                </c:pt>
                <c:pt idx="78">
                  <c:v>890.39781013990398</c:v>
                </c:pt>
                <c:pt idx="79">
                  <c:v>892.36428512633938</c:v>
                </c:pt>
                <c:pt idx="80">
                  <c:v>893.41490314818952</c:v>
                </c:pt>
                <c:pt idx="81">
                  <c:v>893.45079065682694</c:v>
                </c:pt>
                <c:pt idx="82">
                  <c:v>892.48532980587299</c:v>
                </c:pt>
                <c:pt idx="83">
                  <c:v>890.64658472928443</c:v>
                </c:pt>
                <c:pt idx="84">
                  <c:v>887.87913401129344</c:v>
                </c:pt>
                <c:pt idx="85">
                  <c:v>884.08255905356577</c:v>
                </c:pt>
                <c:pt idx="86">
                  <c:v>879.49613133574599</c:v>
                </c:pt>
                <c:pt idx="87">
                  <c:v>874.06631089152859</c:v>
                </c:pt>
                <c:pt idx="88">
                  <c:v>867.54419652430568</c:v>
                </c:pt>
                <c:pt idx="89">
                  <c:v>860.26494370884245</c:v>
                </c:pt>
                <c:pt idx="90">
                  <c:v>852.23822522365379</c:v>
                </c:pt>
                <c:pt idx="91">
                  <c:v>843.41159135315843</c:v>
                </c:pt>
                <c:pt idx="92">
                  <c:v>833.66905816287044</c:v>
                </c:pt>
                <c:pt idx="93">
                  <c:v>823.19418557121196</c:v>
                </c:pt>
                <c:pt idx="94">
                  <c:v>812.06981593791556</c:v>
                </c:pt>
                <c:pt idx="95">
                  <c:v>800.27612606227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46.16285812227125</c:v>
                </c:pt>
                <c:pt idx="43">
                  <c:v>463.51108827755144</c:v>
                </c:pt>
                <c:pt idx="44">
                  <c:v>481.62826277120223</c:v>
                </c:pt>
                <c:pt idx="45">
                  <c:v>500.00131210852436</c:v>
                </c:pt>
                <c:pt idx="46">
                  <c:v>518.17313299948546</c:v>
                </c:pt>
                <c:pt idx="47">
                  <c:v>536.3851212664772</c:v>
                </c:pt>
                <c:pt idx="48">
                  <c:v>555.13742602641287</c:v>
                </c:pt>
                <c:pt idx="49">
                  <c:v>574.6391660811986</c:v>
                </c:pt>
                <c:pt idx="50">
                  <c:v>594.83532726892849</c:v>
                </c:pt>
                <c:pt idx="51">
                  <c:v>616.28375374206098</c:v>
                </c:pt>
                <c:pt idx="52">
                  <c:v>638.23074616591975</c:v>
                </c:pt>
                <c:pt idx="53">
                  <c:v>659.36639802293928</c:v>
                </c:pt>
                <c:pt idx="54">
                  <c:v>680.46998587253086</c:v>
                </c:pt>
                <c:pt idx="55">
                  <c:v>702.03109489770429</c:v>
                </c:pt>
                <c:pt idx="56">
                  <c:v>724.17371612656575</c:v>
                </c:pt>
                <c:pt idx="57">
                  <c:v>746.85698515396598</c:v>
                </c:pt>
                <c:pt idx="58">
                  <c:v>769.99803241011409</c:v>
                </c:pt>
                <c:pt idx="59">
                  <c:v>793.44474287420474</c:v>
                </c:pt>
                <c:pt idx="60">
                  <c:v>816.75812460407951</c:v>
                </c:pt>
                <c:pt idx="61">
                  <c:v>839.93989061995603</c:v>
                </c:pt>
                <c:pt idx="62">
                  <c:v>863.00268202318944</c:v>
                </c:pt>
                <c:pt idx="63">
                  <c:v>885.91451353845559</c:v>
                </c:pt>
                <c:pt idx="64">
                  <c:v>908.5268331523298</c:v>
                </c:pt>
                <c:pt idx="65">
                  <c:v>930.86000111966644</c:v>
                </c:pt>
                <c:pt idx="66">
                  <c:v>952.75998881622786</c:v>
                </c:pt>
                <c:pt idx="67">
                  <c:v>974.16253741542596</c:v>
                </c:pt>
                <c:pt idx="68">
                  <c:v>994.83746375333476</c:v>
                </c:pt>
                <c:pt idx="69">
                  <c:v>1014.7729409405804</c:v>
                </c:pt>
                <c:pt idx="70">
                  <c:v>1033.9511212116859</c:v>
                </c:pt>
                <c:pt idx="71">
                  <c:v>1052.0603035620256</c:v>
                </c:pt>
                <c:pt idx="72">
                  <c:v>1069.1791587165981</c:v>
                </c:pt>
                <c:pt idx="73">
                  <c:v>1085.2509541536956</c:v>
                </c:pt>
                <c:pt idx="74">
                  <c:v>1100.1010497252437</c:v>
                </c:pt>
                <c:pt idx="75">
                  <c:v>1113.6963271620705</c:v>
                </c:pt>
                <c:pt idx="76">
                  <c:v>1125.9861972848307</c:v>
                </c:pt>
                <c:pt idx="77">
                  <c:v>1136.9623778597168</c:v>
                </c:pt>
                <c:pt idx="78">
                  <c:v>1146.4062869192921</c:v>
                </c:pt>
                <c:pt idx="79">
                  <c:v>1154.4132617505502</c:v>
                </c:pt>
                <c:pt idx="80">
                  <c:v>1160.9368102283138</c:v>
                </c:pt>
                <c:pt idx="81">
                  <c:v>1165.8524081012106</c:v>
                </c:pt>
                <c:pt idx="82">
                  <c:v>1169.1509267834817</c:v>
                </c:pt>
                <c:pt idx="83">
                  <c:v>1170.9436814537762</c:v>
                </c:pt>
                <c:pt idx="84">
                  <c:v>1171.1622626914482</c:v>
                </c:pt>
                <c:pt idx="85">
                  <c:v>1169.6976769596431</c:v>
                </c:pt>
                <c:pt idx="86">
                  <c:v>1166.7850376968897</c:v>
                </c:pt>
                <c:pt idx="87">
                  <c:v>1162.3709671987549</c:v>
                </c:pt>
                <c:pt idx="88">
                  <c:v>1156.2100063806572</c:v>
                </c:pt>
                <c:pt idx="89">
                  <c:v>1148.6463695489083</c:v>
                </c:pt>
                <c:pt idx="90">
                  <c:v>1139.7011613569905</c:v>
                </c:pt>
                <c:pt idx="91">
                  <c:v>1129.3376549382642</c:v>
                </c:pt>
                <c:pt idx="92">
                  <c:v>1117.4464376544033</c:v>
                </c:pt>
                <c:pt idx="93">
                  <c:v>1104.2417593837986</c:v>
                </c:pt>
                <c:pt idx="94">
                  <c:v>1089.8313327285337</c:v>
                </c:pt>
                <c:pt idx="95">
                  <c:v>1074.2227764446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3</c:v>
                </c:pt>
                <c:pt idx="4">
                  <c:v>34</c:v>
                </c:pt>
                <c:pt idx="5">
                  <c:v>34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1</c:v>
                </c:pt>
                <c:pt idx="10">
                  <c:v>42</c:v>
                </c:pt>
                <c:pt idx="11">
                  <c:v>45</c:v>
                </c:pt>
                <c:pt idx="12">
                  <c:v>48</c:v>
                </c:pt>
                <c:pt idx="13">
                  <c:v>53</c:v>
                </c:pt>
                <c:pt idx="14">
                  <c:v>56</c:v>
                </c:pt>
                <c:pt idx="15">
                  <c:v>57</c:v>
                </c:pt>
                <c:pt idx="16">
                  <c:v>61</c:v>
                </c:pt>
                <c:pt idx="17">
                  <c:v>65</c:v>
                </c:pt>
                <c:pt idx="18">
                  <c:v>74</c:v>
                </c:pt>
                <c:pt idx="19">
                  <c:v>77</c:v>
                </c:pt>
                <c:pt idx="20">
                  <c:v>83</c:v>
                </c:pt>
                <c:pt idx="21">
                  <c:v>87</c:v>
                </c:pt>
                <c:pt idx="22">
                  <c:v>90</c:v>
                </c:pt>
                <c:pt idx="23">
                  <c:v>95</c:v>
                </c:pt>
                <c:pt idx="24">
                  <c:v>102</c:v>
                </c:pt>
                <c:pt idx="25">
                  <c:v>113</c:v>
                </c:pt>
                <c:pt idx="26">
                  <c:v>120</c:v>
                </c:pt>
                <c:pt idx="27">
                  <c:v>128</c:v>
                </c:pt>
                <c:pt idx="28">
                  <c:v>144</c:v>
                </c:pt>
                <c:pt idx="29">
                  <c:v>154</c:v>
                </c:pt>
                <c:pt idx="30">
                  <c:v>168</c:v>
                </c:pt>
                <c:pt idx="31">
                  <c:v>193</c:v>
                </c:pt>
                <c:pt idx="32">
                  <c:v>211</c:v>
                </c:pt>
                <c:pt idx="33">
                  <c:v>226</c:v>
                </c:pt>
                <c:pt idx="34">
                  <c:v>250</c:v>
                </c:pt>
                <c:pt idx="35">
                  <c:v>273</c:v>
                </c:pt>
                <c:pt idx="36">
                  <c:v>287</c:v>
                </c:pt>
                <c:pt idx="37">
                  <c:v>299</c:v>
                </c:pt>
                <c:pt idx="38">
                  <c:v>328</c:v>
                </c:pt>
                <c:pt idx="39">
                  <c:v>355</c:v>
                </c:pt>
                <c:pt idx="40">
                  <c:v>376</c:v>
                </c:pt>
                <c:pt idx="41">
                  <c:v>396</c:v>
                </c:pt>
                <c:pt idx="42">
                  <c:v>424</c:v>
                </c:pt>
                <c:pt idx="43">
                  <c:v>440</c:v>
                </c:pt>
                <c:pt idx="44">
                  <c:v>462</c:v>
                </c:pt>
                <c:pt idx="45">
                  <c:v>507</c:v>
                </c:pt>
                <c:pt idx="46">
                  <c:v>546</c:v>
                </c:pt>
                <c:pt idx="47">
                  <c:v>578</c:v>
                </c:pt>
                <c:pt idx="48">
                  <c:v>615</c:v>
                </c:pt>
                <c:pt idx="49">
                  <c:v>648</c:v>
                </c:pt>
                <c:pt idx="50">
                  <c:v>663</c:v>
                </c:pt>
                <c:pt idx="51">
                  <c:v>680</c:v>
                </c:pt>
                <c:pt idx="52">
                  <c:v>733</c:v>
                </c:pt>
                <c:pt idx="53">
                  <c:v>780</c:v>
                </c:pt>
                <c:pt idx="54">
                  <c:v>806</c:v>
                </c:pt>
                <c:pt idx="55">
                  <c:v>858</c:v>
                </c:pt>
                <c:pt idx="56">
                  <c:v>894</c:v>
                </c:pt>
                <c:pt idx="57">
                  <c:v>909</c:v>
                </c:pt>
                <c:pt idx="58">
                  <c:v>926</c:v>
                </c:pt>
                <c:pt idx="59">
                  <c:v>964</c:v>
                </c:pt>
                <c:pt idx="60">
                  <c:v>1004</c:v>
                </c:pt>
                <c:pt idx="61">
                  <c:v>1040</c:v>
                </c:pt>
                <c:pt idx="62">
                  <c:v>1075</c:v>
                </c:pt>
                <c:pt idx="63">
                  <c:v>1099</c:v>
                </c:pt>
                <c:pt idx="64">
                  <c:v>1124</c:v>
                </c:pt>
                <c:pt idx="65">
                  <c:v>1153</c:v>
                </c:pt>
                <c:pt idx="66">
                  <c:v>1186</c:v>
                </c:pt>
                <c:pt idx="67">
                  <c:v>1214</c:v>
                </c:pt>
                <c:pt idx="68">
                  <c:v>1236</c:v>
                </c:pt>
                <c:pt idx="69">
                  <c:v>1253</c:v>
                </c:pt>
                <c:pt idx="70">
                  <c:v>1276</c:v>
                </c:pt>
                <c:pt idx="71">
                  <c:v>1292</c:v>
                </c:pt>
                <c:pt idx="72">
                  <c:v>1305</c:v>
                </c:pt>
                <c:pt idx="73">
                  <c:v>1327</c:v>
                </c:pt>
                <c:pt idx="74">
                  <c:v>13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0.62581717995187</c:v>
                </c:pt>
                <c:pt idx="43">
                  <c:v>445.77173914455915</c:v>
                </c:pt>
                <c:pt idx="44">
                  <c:v>471.45660047052371</c:v>
                </c:pt>
                <c:pt idx="45">
                  <c:v>497.78971976684943</c:v>
                </c:pt>
                <c:pt idx="46">
                  <c:v>524.80110275577169</c:v>
                </c:pt>
                <c:pt idx="47">
                  <c:v>552.33949159024792</c:v>
                </c:pt>
                <c:pt idx="48">
                  <c:v>580.39998763704227</c:v>
                </c:pt>
                <c:pt idx="49">
                  <c:v>608.87018194351845</c:v>
                </c:pt>
                <c:pt idx="50">
                  <c:v>637.70325916396075</c:v>
                </c:pt>
                <c:pt idx="51">
                  <c:v>666.96032321129087</c:v>
                </c:pt>
                <c:pt idx="52">
                  <c:v>696.5436528368034</c:v>
                </c:pt>
                <c:pt idx="53">
                  <c:v>726.44224956464745</c:v>
                </c:pt>
                <c:pt idx="54">
                  <c:v>756.73094971110345</c:v>
                </c:pt>
                <c:pt idx="55">
                  <c:v>787.30016452691211</c:v>
                </c:pt>
                <c:pt idx="56">
                  <c:v>818.11268776346026</c:v>
                </c:pt>
                <c:pt idx="57">
                  <c:v>849.19596065863846</c:v>
                </c:pt>
                <c:pt idx="58">
                  <c:v>880.50114059865018</c:v>
                </c:pt>
                <c:pt idx="59">
                  <c:v>911.98327214398807</c:v>
                </c:pt>
                <c:pt idx="60">
                  <c:v>943.64583014461971</c:v>
                </c:pt>
                <c:pt idx="61">
                  <c:v>975.48295364645685</c:v>
                </c:pt>
                <c:pt idx="62">
                  <c:v>1007.4402302193951</c:v>
                </c:pt>
                <c:pt idx="63">
                  <c:v>1039.4841134320848</c:v>
                </c:pt>
                <c:pt idx="64">
                  <c:v>1071.6157855105278</c:v>
                </c:pt>
                <c:pt idx="65">
                  <c:v>1103.774773141949</c:v>
                </c:pt>
                <c:pt idx="66">
                  <c:v>1135.9412632713538</c:v>
                </c:pt>
                <c:pt idx="67">
                  <c:v>1168.1258459697533</c:v>
                </c:pt>
                <c:pt idx="68">
                  <c:v>1200.2635993297026</c:v>
                </c:pt>
                <c:pt idx="69">
                  <c:v>1232.3378243644688</c:v>
                </c:pt>
                <c:pt idx="70">
                  <c:v>1264.3212838986183</c:v>
                </c:pt>
                <c:pt idx="71">
                  <c:v>1296.1868633432505</c:v>
                </c:pt>
                <c:pt idx="72">
                  <c:v>1327.908211325293</c:v>
                </c:pt>
                <c:pt idx="73">
                  <c:v>1359.4597358565909</c:v>
                </c:pt>
                <c:pt idx="74">
                  <c:v>1390.8163994913966</c:v>
                </c:pt>
                <c:pt idx="75">
                  <c:v>1421.953731132528</c:v>
                </c:pt>
                <c:pt idx="76">
                  <c:v>1452.8479082833317</c:v>
                </c:pt>
                <c:pt idx="77">
                  <c:v>1483.4758303943695</c:v>
                </c:pt>
                <c:pt idx="78">
                  <c:v>1513.8152405599481</c:v>
                </c:pt>
                <c:pt idx="79">
                  <c:v>1543.8447997865701</c:v>
                </c:pt>
                <c:pt idx="80">
                  <c:v>1573.5441206059811</c:v>
                </c:pt>
                <c:pt idx="81">
                  <c:v>1602.8938000369351</c:v>
                </c:pt>
                <c:pt idx="82">
                  <c:v>1631.8754413630961</c:v>
                </c:pt>
                <c:pt idx="83">
                  <c:v>1660.4716680293247</c:v>
                </c:pt>
                <c:pt idx="84">
                  <c:v>1688.6661531445177</c:v>
                </c:pt>
                <c:pt idx="85">
                  <c:v>1716.4436426237091</c:v>
                </c:pt>
                <c:pt idx="86">
                  <c:v>1743.7899643761557</c:v>
                </c:pt>
                <c:pt idx="87">
                  <c:v>1770.6920397972956</c:v>
                </c:pt>
                <c:pt idx="88">
                  <c:v>1797.1378937879017</c:v>
                </c:pt>
                <c:pt idx="89">
                  <c:v>1823.1166500422396</c:v>
                </c:pt>
                <c:pt idx="90">
                  <c:v>1848.6185191660306</c:v>
                </c:pt>
                <c:pt idx="91">
                  <c:v>1873.6347967022984</c:v>
                </c:pt>
                <c:pt idx="92">
                  <c:v>1898.1578500766507</c:v>
                </c:pt>
                <c:pt idx="93">
                  <c:v>1922.1810981416843</c:v>
                </c:pt>
                <c:pt idx="94">
                  <c:v>1945.6989945606638</c:v>
                </c:pt>
                <c:pt idx="95">
                  <c:v>1968.70700584642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1.13741270298186</c:v>
                </c:pt>
                <c:pt idx="43">
                  <c:v>446.99978945751309</c:v>
                </c:pt>
                <c:pt idx="44">
                  <c:v>473.63006702210527</c:v>
                </c:pt>
                <c:pt idx="45">
                  <c:v>501.16078404261185</c:v>
                </c:pt>
                <c:pt idx="46">
                  <c:v>529.64434922975556</c:v>
                </c:pt>
                <c:pt idx="47">
                  <c:v>558.95063420748511</c:v>
                </c:pt>
                <c:pt idx="48">
                  <c:v>589.09290035523486</c:v>
                </c:pt>
                <c:pt idx="49">
                  <c:v>619.97481687882203</c:v>
                </c:pt>
                <c:pt idx="50">
                  <c:v>651.56333216492408</c:v>
                </c:pt>
                <c:pt idx="51">
                  <c:v>683.93136591918517</c:v>
                </c:pt>
                <c:pt idx="52">
                  <c:v>716.99173871507776</c:v>
                </c:pt>
                <c:pt idx="53">
                  <c:v>750.74201379215219</c:v>
                </c:pt>
                <c:pt idx="54">
                  <c:v>785.26392009823689</c:v>
                </c:pt>
                <c:pt idx="55">
                  <c:v>820.45312444607225</c:v>
                </c:pt>
                <c:pt idx="56">
                  <c:v>856.27593520560708</c:v>
                </c:pt>
                <c:pt idx="57">
                  <c:v>892.76152839662768</c:v>
                </c:pt>
                <c:pt idx="58">
                  <c:v>929.8613254967014</c:v>
                </c:pt>
                <c:pt idx="59">
                  <c:v>967.52909587662043</c:v>
                </c:pt>
                <c:pt idx="60">
                  <c:v>1005.7651913965013</c:v>
                </c:pt>
                <c:pt idx="61">
                  <c:v>1044.5588352817279</c:v>
                </c:pt>
                <c:pt idx="62">
                  <c:v>1083.8491248283326</c:v>
                </c:pt>
                <c:pt idx="63">
                  <c:v>1123.594224038593</c:v>
                </c:pt>
                <c:pt idx="64">
                  <c:v>1163.7852923230234</c:v>
                </c:pt>
                <c:pt idx="65">
                  <c:v>1204.3508318243837</c:v>
                </c:pt>
                <c:pt idx="66">
                  <c:v>1245.2587905608577</c:v>
                </c:pt>
                <c:pt idx="67">
                  <c:v>1286.5058385108421</c:v>
                </c:pt>
                <c:pt idx="68">
                  <c:v>1328.0117851007606</c:v>
                </c:pt>
                <c:pt idx="69">
                  <c:v>1369.7432423705811</c:v>
                </c:pt>
                <c:pt idx="70">
                  <c:v>1411.6550693550682</c:v>
                </c:pt>
                <c:pt idx="71">
                  <c:v>1453.7011500349915</c:v>
                </c:pt>
                <c:pt idx="72">
                  <c:v>1495.8353748998679</c:v>
                </c:pt>
                <c:pt idx="73">
                  <c:v>1538.0117222883459</c:v>
                </c:pt>
                <c:pt idx="74">
                  <c:v>1580.184062311796</c:v>
                </c:pt>
                <c:pt idx="75">
                  <c:v>1622.3062710328054</c:v>
                </c:pt>
                <c:pt idx="76">
                  <c:v>1664.3324455021313</c:v>
                </c:pt>
                <c:pt idx="77">
                  <c:v>1706.2171064848533</c:v>
                </c:pt>
                <c:pt idx="78">
                  <c:v>1747.9154719306944</c:v>
                </c:pt>
                <c:pt idx="79">
                  <c:v>1789.3836643012276</c:v>
                </c:pt>
                <c:pt idx="80">
                  <c:v>1830.5788599205455</c:v>
                </c:pt>
                <c:pt idx="81">
                  <c:v>1871.4594349556337</c:v>
                </c:pt>
                <c:pt idx="82">
                  <c:v>1911.9850941463901</c:v>
                </c:pt>
                <c:pt idx="83">
                  <c:v>1952.1169856645868</c:v>
                </c:pt>
                <c:pt idx="84">
                  <c:v>1991.8178318575876</c:v>
                </c:pt>
                <c:pt idx="85">
                  <c:v>2031.0520465265834</c:v>
                </c:pt>
                <c:pt idx="86">
                  <c:v>2069.7858275168096</c:v>
                </c:pt>
                <c:pt idx="87">
                  <c:v>2107.9872457461597</c:v>
                </c:pt>
                <c:pt idx="88">
                  <c:v>2145.6263258268364</c:v>
                </c:pt>
                <c:pt idx="89">
                  <c:v>2182.6750996375517</c:v>
                </c:pt>
                <c:pt idx="90">
                  <c:v>2219.1076425664178</c:v>
                </c:pt>
                <c:pt idx="91">
                  <c:v>2254.9001162810018</c:v>
                </c:pt>
                <c:pt idx="92">
                  <c:v>2290.0307889316268</c:v>
                </c:pt>
                <c:pt idx="93">
                  <c:v>2324.4800380318184</c:v>
                </c:pt>
                <c:pt idx="94">
                  <c:v>2358.230351561273</c:v>
                </c:pt>
                <c:pt idx="95">
                  <c:v>2391.2663152028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1.65225933199514</c:v>
                </c:pt>
                <c:pt idx="43">
                  <c:v>448.23958657632255</c:v>
                </c:pt>
                <c:pt idx="44">
                  <c:v>475.83251823735503</c:v>
                </c:pt>
                <c:pt idx="45">
                  <c:v>504.59099561262332</c:v>
                </c:pt>
                <c:pt idx="46">
                  <c:v>534.59461808042192</c:v>
                </c:pt>
                <c:pt idx="47">
                  <c:v>565.73971852822683</c:v>
                </c:pt>
                <c:pt idx="48">
                  <c:v>598.06353594617326</c:v>
                </c:pt>
                <c:pt idx="49">
                  <c:v>631.49205066515503</c:v>
                </c:pt>
                <c:pt idx="50">
                  <c:v>666.01252011315728</c:v>
                </c:pt>
                <c:pt idx="51">
                  <c:v>701.71645246605738</c:v>
                </c:pt>
                <c:pt idx="52">
                  <c:v>738.53410241451809</c:v>
                </c:pt>
                <c:pt idx="53">
                  <c:v>776.47847127067553</c:v>
                </c:pt>
                <c:pt idx="54">
                  <c:v>815.64493562791233</c:v>
                </c:pt>
                <c:pt idx="55">
                  <c:v>855.94093150082347</c:v>
                </c:pt>
                <c:pt idx="56">
                  <c:v>897.3424813928516</c:v>
                </c:pt>
                <c:pt idx="57">
                  <c:v>939.88623556983327</c:v>
                </c:pt>
                <c:pt idx="58">
                  <c:v>983.52909693011782</c:v>
                </c:pt>
                <c:pt idx="59">
                  <c:v>1028.2281539069372</c:v>
                </c:pt>
                <c:pt idx="60">
                  <c:v>1073.9844409842408</c:v>
                </c:pt>
                <c:pt idx="61">
                  <c:v>1120.785198607244</c:v>
                </c:pt>
                <c:pt idx="62">
                  <c:v>1168.5650003384771</c:v>
                </c:pt>
                <c:pt idx="63">
                  <c:v>1217.2746740897642</c:v>
                </c:pt>
                <c:pt idx="64">
                  <c:v>1266.895233208563</c:v>
                </c:pt>
                <c:pt idx="65">
                  <c:v>1317.343019513376</c:v>
                </c:pt>
                <c:pt idx="66">
                  <c:v>1368.571565959438</c:v>
                </c:pt>
                <c:pt idx="67">
                  <c:v>1420.5602629475688</c:v>
                </c:pt>
                <c:pt idx="68">
                  <c:v>1473.2091400664635</c:v>
                </c:pt>
                <c:pt idx="69">
                  <c:v>1526.4624800249851</c:v>
                </c:pt>
                <c:pt idx="70">
                  <c:v>1580.2505231580317</c:v>
                </c:pt>
                <c:pt idx="71">
                  <c:v>1634.5004161217155</c:v>
                </c:pt>
                <c:pt idx="72">
                  <c:v>1689.1376546081067</c:v>
                </c:pt>
                <c:pt idx="73">
                  <c:v>1744.0863248928272</c:v>
                </c:pt>
                <c:pt idx="74">
                  <c:v>1799.2689867688205</c:v>
                </c:pt>
                <c:pt idx="75">
                  <c:v>1854.6069925402035</c:v>
                </c:pt>
                <c:pt idx="76">
                  <c:v>1910.0209528807345</c:v>
                </c:pt>
                <c:pt idx="77">
                  <c:v>1965.4311925715797</c:v>
                </c:pt>
                <c:pt idx="78">
                  <c:v>2020.7583095332425</c:v>
                </c:pt>
                <c:pt idx="79">
                  <c:v>2075.9236472309744</c:v>
                </c:pt>
                <c:pt idx="80">
                  <c:v>2130.8496893453016</c:v>
                </c:pt>
                <c:pt idx="81">
                  <c:v>2185.4604469246578</c:v>
                </c:pt>
                <c:pt idx="82">
                  <c:v>2239.6818181936351</c:v>
                </c:pt>
                <c:pt idx="83">
                  <c:v>2293.4419228223583</c:v>
                </c:pt>
                <c:pt idx="84">
                  <c:v>2346.6714463928047</c:v>
                </c:pt>
                <c:pt idx="85">
                  <c:v>2399.3039553886128</c:v>
                </c:pt>
                <c:pt idx="86">
                  <c:v>2451.2761659476882</c:v>
                </c:pt>
                <c:pt idx="87">
                  <c:v>2502.528192386691</c:v>
                </c:pt>
                <c:pt idx="88">
                  <c:v>2553.0037687558097</c:v>
                </c:pt>
                <c:pt idx="89">
                  <c:v>2602.6504176636304</c:v>
                </c:pt>
                <c:pt idx="90">
                  <c:v>2651.4195784599024</c:v>
                </c:pt>
                <c:pt idx="91">
                  <c:v>2699.2667269783751</c:v>
                </c:pt>
                <c:pt idx="92">
                  <c:v>2746.1514479698476</c:v>
                </c:pt>
                <c:pt idx="93">
                  <c:v>2792.0374678055432</c:v>
                </c:pt>
                <c:pt idx="94">
                  <c:v>2836.8926688138035</c:v>
                </c:pt>
                <c:pt idx="95">
                  <c:v>2880.6890702820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3</c:v>
                </c:pt>
                <c:pt idx="12">
                  <c:v>25</c:v>
                </c:pt>
                <c:pt idx="13">
                  <c:v>27</c:v>
                </c:pt>
                <c:pt idx="14">
                  <c:v>29</c:v>
                </c:pt>
                <c:pt idx="15">
                  <c:v>30</c:v>
                </c:pt>
                <c:pt idx="16">
                  <c:v>30</c:v>
                </c:pt>
                <c:pt idx="17">
                  <c:v>33</c:v>
                </c:pt>
                <c:pt idx="18">
                  <c:v>35</c:v>
                </c:pt>
                <c:pt idx="19">
                  <c:v>36</c:v>
                </c:pt>
                <c:pt idx="20">
                  <c:v>38</c:v>
                </c:pt>
                <c:pt idx="21">
                  <c:v>38</c:v>
                </c:pt>
                <c:pt idx="22">
                  <c:v>40</c:v>
                </c:pt>
                <c:pt idx="23">
                  <c:v>41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6</c:v>
                </c:pt>
                <c:pt idx="28">
                  <c:v>46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5</c:v>
                </c:pt>
                <c:pt idx="33">
                  <c:v>59</c:v>
                </c:pt>
                <c:pt idx="34">
                  <c:v>61</c:v>
                </c:pt>
                <c:pt idx="35">
                  <c:v>64</c:v>
                </c:pt>
                <c:pt idx="36">
                  <c:v>70</c:v>
                </c:pt>
                <c:pt idx="37">
                  <c:v>70</c:v>
                </c:pt>
                <c:pt idx="38">
                  <c:v>76</c:v>
                </c:pt>
                <c:pt idx="39">
                  <c:v>81</c:v>
                </c:pt>
                <c:pt idx="40">
                  <c:v>93</c:v>
                </c:pt>
                <c:pt idx="41">
                  <c:v>102</c:v>
                </c:pt>
                <c:pt idx="42">
                  <c:v>108</c:v>
                </c:pt>
                <c:pt idx="43">
                  <c:v>110</c:v>
                </c:pt>
                <c:pt idx="44">
                  <c:v>112</c:v>
                </c:pt>
                <c:pt idx="45">
                  <c:v>124</c:v>
                </c:pt>
                <c:pt idx="46">
                  <c:v>134</c:v>
                </c:pt>
                <c:pt idx="47">
                  <c:v>137</c:v>
                </c:pt>
                <c:pt idx="48">
                  <c:v>145</c:v>
                </c:pt>
                <c:pt idx="49">
                  <c:v>157</c:v>
                </c:pt>
                <c:pt idx="50">
                  <c:v>160</c:v>
                </c:pt>
                <c:pt idx="51">
                  <c:v>167</c:v>
                </c:pt>
                <c:pt idx="52">
                  <c:v>184</c:v>
                </c:pt>
                <c:pt idx="53">
                  <c:v>195</c:v>
                </c:pt>
                <c:pt idx="54">
                  <c:v>205</c:v>
                </c:pt>
                <c:pt idx="55">
                  <c:v>236</c:v>
                </c:pt>
                <c:pt idx="56">
                  <c:v>242</c:v>
                </c:pt>
                <c:pt idx="57">
                  <c:v>247</c:v>
                </c:pt>
                <c:pt idx="58">
                  <c:v>264</c:v>
                </c:pt>
                <c:pt idx="59">
                  <c:v>276</c:v>
                </c:pt>
                <c:pt idx="60">
                  <c:v>281</c:v>
                </c:pt>
                <c:pt idx="61">
                  <c:v>289</c:v>
                </c:pt>
                <c:pt idx="62">
                  <c:v>299</c:v>
                </c:pt>
                <c:pt idx="63">
                  <c:v>313</c:v>
                </c:pt>
                <c:pt idx="64">
                  <c:v>321</c:v>
                </c:pt>
                <c:pt idx="65">
                  <c:v>328</c:v>
                </c:pt>
                <c:pt idx="66">
                  <c:v>343</c:v>
                </c:pt>
                <c:pt idx="67">
                  <c:v>347</c:v>
                </c:pt>
                <c:pt idx="68">
                  <c:v>353</c:v>
                </c:pt>
                <c:pt idx="69">
                  <c:v>358</c:v>
                </c:pt>
                <c:pt idx="70">
                  <c:v>366</c:v>
                </c:pt>
                <c:pt idx="71">
                  <c:v>368</c:v>
                </c:pt>
                <c:pt idx="72">
                  <c:v>374</c:v>
                </c:pt>
                <c:pt idx="73">
                  <c:v>385</c:v>
                </c:pt>
                <c:pt idx="74">
                  <c:v>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8.11978513380403</c:v>
                </c:pt>
                <c:pt idx="43">
                  <c:v>114.37104046417612</c:v>
                </c:pt>
                <c:pt idx="44">
                  <c:v>120.76030577031857</c:v>
                </c:pt>
                <c:pt idx="45">
                  <c:v>127.314876882454</c:v>
                </c:pt>
                <c:pt idx="46">
                  <c:v>134.04226954310559</c:v>
                </c:pt>
                <c:pt idx="47">
                  <c:v>140.90290700581878</c:v>
                </c:pt>
                <c:pt idx="48">
                  <c:v>147.89446920053174</c:v>
                </c:pt>
                <c:pt idx="49">
                  <c:v>154.9871547517883</c:v>
                </c:pt>
                <c:pt idx="50">
                  <c:v>162.17081085391879</c:v>
                </c:pt>
                <c:pt idx="51">
                  <c:v>169.46072429802717</c:v>
                </c:pt>
                <c:pt idx="52">
                  <c:v>176.83099702449005</c:v>
                </c:pt>
                <c:pt idx="53">
                  <c:v>184.27958298555581</c:v>
                </c:pt>
                <c:pt idx="54">
                  <c:v>191.82442925630676</c:v>
                </c:pt>
                <c:pt idx="55">
                  <c:v>199.43834351406409</c:v>
                </c:pt>
                <c:pt idx="56">
                  <c:v>207.11195955654085</c:v>
                </c:pt>
                <c:pt idx="57">
                  <c:v>214.85219604977323</c:v>
                </c:pt>
                <c:pt idx="58">
                  <c:v>222.64714633803848</c:v>
                </c:pt>
                <c:pt idx="59">
                  <c:v>230.48480478195779</c:v>
                </c:pt>
                <c:pt idx="60">
                  <c:v>238.36545482507952</c:v>
                </c:pt>
                <c:pt idx="61">
                  <c:v>246.28916729357294</c:v>
                </c:pt>
                <c:pt idx="62">
                  <c:v>254.24149503512027</c:v>
                </c:pt>
                <c:pt idx="63">
                  <c:v>262.21413124033654</c:v>
                </c:pt>
                <c:pt idx="64">
                  <c:v>270.20798890166787</c:v>
                </c:pt>
                <c:pt idx="65">
                  <c:v>278.20806269618333</c:v>
                </c:pt>
                <c:pt idx="66">
                  <c:v>286.20913813856311</c:v>
                </c:pt>
                <c:pt idx="67">
                  <c:v>294.21301701974789</c:v>
                </c:pt>
                <c:pt idx="68">
                  <c:v>302.20439968624055</c:v>
                </c:pt>
                <c:pt idx="69">
                  <c:v>310.17890524404208</c:v>
                </c:pt>
                <c:pt idx="70">
                  <c:v>318.12977006489461</c:v>
                </c:pt>
                <c:pt idx="71">
                  <c:v>326.05026016176208</c:v>
                </c:pt>
                <c:pt idx="72">
                  <c:v>333.93383334600151</c:v>
                </c:pt>
                <c:pt idx="73">
                  <c:v>341.77413917048182</c:v>
                </c:pt>
                <c:pt idx="74">
                  <c:v>349.56496864380506</c:v>
                </c:pt>
                <c:pt idx="75">
                  <c:v>357.30025680132593</c:v>
                </c:pt>
                <c:pt idx="76">
                  <c:v>364.9741031111044</c:v>
                </c:pt>
                <c:pt idx="77">
                  <c:v>372.58078961051694</c:v>
                </c:pt>
                <c:pt idx="78">
                  <c:v>380.11481029927126</c:v>
                </c:pt>
                <c:pt idx="79">
                  <c:v>387.57088966146955</c:v>
                </c:pt>
                <c:pt idx="80">
                  <c:v>394.94399091248636</c:v>
                </c:pt>
                <c:pt idx="81">
                  <c:v>402.22932412986711</c:v>
                </c:pt>
                <c:pt idx="82">
                  <c:v>409.42235137606104</c:v>
                </c:pt>
                <c:pt idx="83">
                  <c:v>416.51878983657275</c:v>
                </c:pt>
                <c:pt idx="84">
                  <c:v>423.51461912726211</c:v>
                </c:pt>
                <c:pt idx="85">
                  <c:v>430.4060868061427</c:v>
                </c:pt>
                <c:pt idx="86">
                  <c:v>437.18971029813372</c:v>
                </c:pt>
                <c:pt idx="87">
                  <c:v>443.86227956116568</c:v>
                </c:pt>
                <c:pt idx="88">
                  <c:v>450.4208595281317</c:v>
                </c:pt>
                <c:pt idx="89">
                  <c:v>456.86278876358449</c:v>
                </c:pt>
                <c:pt idx="90">
                  <c:v>463.18567614864793</c:v>
                </c:pt>
                <c:pt idx="91">
                  <c:v>469.38740041631576</c:v>
                </c:pt>
                <c:pt idx="92">
                  <c:v>475.46610666349147</c:v>
                </c:pt>
                <c:pt idx="93">
                  <c:v>481.42020098591445</c:v>
                </c:pt>
                <c:pt idx="94">
                  <c:v>487.24834616067636</c:v>
                </c:pt>
                <c:pt idx="95">
                  <c:v>492.9494561294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8.24843323327325</c:v>
                </c:pt>
                <c:pt idx="43">
                  <c:v>114.67985648249871</c:v>
                </c:pt>
                <c:pt idx="44">
                  <c:v>121.30685208233078</c:v>
                </c:pt>
                <c:pt idx="45">
                  <c:v>128.16253510108271</c:v>
                </c:pt>
                <c:pt idx="46">
                  <c:v>135.26003220459904</c:v>
                </c:pt>
                <c:pt idx="47">
                  <c:v>142.56504481901072</c:v>
                </c:pt>
                <c:pt idx="48">
                  <c:v>150.07975177854851</c:v>
                </c:pt>
                <c:pt idx="49">
                  <c:v>157.7783143834009</c:v>
                </c:pt>
                <c:pt idx="50">
                  <c:v>165.65394448606779</c:v>
                </c:pt>
                <c:pt idx="51">
                  <c:v>173.72480075238406</c:v>
                </c:pt>
                <c:pt idx="52">
                  <c:v>181.96754320201154</c:v>
                </c:pt>
                <c:pt idx="53">
                  <c:v>190.38217882599193</c:v>
                </c:pt>
                <c:pt idx="54">
                  <c:v>198.98829614073884</c:v>
                </c:pt>
                <c:pt idx="55">
                  <c:v>207.7599316752349</c:v>
                </c:pt>
                <c:pt idx="56">
                  <c:v>216.68851289550724</c:v>
                </c:pt>
                <c:pt idx="57">
                  <c:v>225.78131106549506</c:v>
                </c:pt>
                <c:pt idx="58">
                  <c:v>235.02640973669946</c:v>
                </c:pt>
                <c:pt idx="59">
                  <c:v>244.41141155102153</c:v>
                </c:pt>
                <c:pt idx="60">
                  <c:v>253.93574979545414</c:v>
                </c:pt>
                <c:pt idx="61">
                  <c:v>263.59820131807919</c:v>
                </c:pt>
                <c:pt idx="62">
                  <c:v>273.38264229430587</c:v>
                </c:pt>
                <c:pt idx="63">
                  <c:v>283.27864033019995</c:v>
                </c:pt>
                <c:pt idx="64">
                  <c:v>293.28455036418296</c:v>
                </c:pt>
                <c:pt idx="65">
                  <c:v>303.38256696772248</c:v>
                </c:pt>
                <c:pt idx="66">
                  <c:v>313.56437466300883</c:v>
                </c:pt>
                <c:pt idx="67">
                  <c:v>323.8282591007561</c:v>
                </c:pt>
                <c:pt idx="68">
                  <c:v>334.15507070268052</c:v>
                </c:pt>
                <c:pt idx="69">
                  <c:v>344.53623092124934</c:v>
                </c:pt>
                <c:pt idx="70">
                  <c:v>354.96048082011174</c:v>
                </c:pt>
                <c:pt idx="71">
                  <c:v>365.41632088198014</c:v>
                </c:pt>
                <c:pt idx="72">
                  <c:v>375.892259446286</c:v>
                </c:pt>
                <c:pt idx="73">
                  <c:v>386.37683435435389</c:v>
                </c:pt>
                <c:pt idx="74">
                  <c:v>396.85856519053306</c:v>
                </c:pt>
                <c:pt idx="75">
                  <c:v>407.32598130838016</c:v>
                </c:pt>
                <c:pt idx="76">
                  <c:v>417.7676753674653</c:v>
                </c:pt>
                <c:pt idx="77">
                  <c:v>428.17235368312777</c:v>
                </c:pt>
                <c:pt idx="78">
                  <c:v>438.52890303085047</c:v>
                </c:pt>
                <c:pt idx="79">
                  <c:v>448.82644231745297</c:v>
                </c:pt>
                <c:pt idx="80">
                  <c:v>459.05435956468784</c:v>
                </c:pt>
                <c:pt idx="81">
                  <c:v>469.2023480389268</c:v>
                </c:pt>
                <c:pt idx="82">
                  <c:v>479.26043774561828</c:v>
                </c:pt>
                <c:pt idx="83">
                  <c:v>489.21902343378753</c:v>
                </c:pt>
                <c:pt idx="84">
                  <c:v>499.06889689062314</c:v>
                </c:pt>
                <c:pt idx="85">
                  <c:v>508.80127559045724</c:v>
                </c:pt>
                <c:pt idx="86">
                  <c:v>518.40782500127762</c:v>
                </c:pt>
                <c:pt idx="87">
                  <c:v>527.88068022223865</c:v>
                </c:pt>
                <c:pt idx="88">
                  <c:v>537.21246570146468</c:v>
                </c:pt>
                <c:pt idx="89">
                  <c:v>546.39630804162414</c:v>
                </c:pt>
                <c:pt idx="90">
                  <c:v>555.4258442356429</c:v>
                </c:pt>
                <c:pt idx="91">
                  <c:v>564.29523205015869</c:v>
                </c:pt>
                <c:pt idx="92">
                  <c:v>572.99915442738529</c:v>
                </c:pt>
                <c:pt idx="93">
                  <c:v>581.53281952713178</c:v>
                </c:pt>
                <c:pt idx="94">
                  <c:v>589.8919604595153</c:v>
                </c:pt>
                <c:pt idx="95">
                  <c:v>598.072831754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8.37789628251842</c:v>
                </c:pt>
                <c:pt idx="43">
                  <c:v>114.99161989695381</c:v>
                </c:pt>
                <c:pt idx="44">
                  <c:v>121.86067495998951</c:v>
                </c:pt>
                <c:pt idx="45">
                  <c:v>129.02504657542053</c:v>
                </c:pt>
                <c:pt idx="46">
                  <c:v>136.50467409504796</c:v>
                </c:pt>
                <c:pt idx="47">
                  <c:v>144.27187419887613</c:v>
                </c:pt>
                <c:pt idx="48">
                  <c:v>152.334782157685</c:v>
                </c:pt>
                <c:pt idx="49">
                  <c:v>160.67308194488842</c:v>
                </c:pt>
                <c:pt idx="50">
                  <c:v>169.2849859813939</c:v>
                </c:pt>
                <c:pt idx="51">
                  <c:v>178.19321493842375</c:v>
                </c:pt>
                <c:pt idx="52">
                  <c:v>187.37870386746656</c:v>
                </c:pt>
                <c:pt idx="53">
                  <c:v>196.84522230009071</c:v>
                </c:pt>
                <c:pt idx="54">
                  <c:v>206.61567583491987</c:v>
                </c:pt>
                <c:pt idx="55">
                  <c:v>216.66694144504262</c:v>
                </c:pt>
                <c:pt idx="56">
                  <c:v>226.99276999171485</c:v>
                </c:pt>
                <c:pt idx="57">
                  <c:v>237.60219641441881</c:v>
                </c:pt>
                <c:pt idx="58">
                  <c:v>248.48457193136733</c:v>
                </c:pt>
                <c:pt idx="59">
                  <c:v>259.62822642771653</c:v>
                </c:pt>
                <c:pt idx="60">
                  <c:v>271.03266235789442</c:v>
                </c:pt>
                <c:pt idx="61">
                  <c:v>282.69606179500408</c:v>
                </c:pt>
                <c:pt idx="62">
                  <c:v>294.60108023747949</c:v>
                </c:pt>
                <c:pt idx="63">
                  <c:v>306.73536131647688</c:v>
                </c:pt>
                <c:pt idx="64">
                  <c:v>319.09463343834216</c:v>
                </c:pt>
                <c:pt idx="65">
                  <c:v>331.65796952053608</c:v>
                </c:pt>
                <c:pt idx="66">
                  <c:v>344.41337235000208</c:v>
                </c:pt>
                <c:pt idx="67">
                  <c:v>357.35473660433291</c:v>
                </c:pt>
                <c:pt idx="68">
                  <c:v>370.45790240524997</c:v>
                </c:pt>
                <c:pt idx="69">
                  <c:v>383.70865367619035</c:v>
                </c:pt>
                <c:pt idx="70">
                  <c:v>397.08953081752253</c:v>
                </c:pt>
                <c:pt idx="71">
                  <c:v>410.5823114815895</c:v>
                </c:pt>
                <c:pt idx="72">
                  <c:v>424.16837602696273</c:v>
                </c:pt>
                <c:pt idx="73">
                  <c:v>437.82877014557414</c:v>
                </c:pt>
                <c:pt idx="74">
                  <c:v>451.54417765042405</c:v>
                </c:pt>
                <c:pt idx="75">
                  <c:v>465.29499982669904</c:v>
                </c:pt>
                <c:pt idx="76">
                  <c:v>479.06147180679505</c:v>
                </c:pt>
                <c:pt idx="77">
                  <c:v>492.82377614672021</c:v>
                </c:pt>
                <c:pt idx="78">
                  <c:v>506.56218043779421</c:v>
                </c:pt>
                <c:pt idx="79">
                  <c:v>520.25715508271446</c:v>
                </c:pt>
                <c:pt idx="80">
                  <c:v>533.88947128027849</c:v>
                </c:pt>
                <c:pt idx="81">
                  <c:v>547.44029697324572</c:v>
                </c:pt>
                <c:pt idx="82">
                  <c:v>560.89128543089316</c:v>
                </c:pt>
                <c:pt idx="83">
                  <c:v>574.22465735520973</c:v>
                </c:pt>
                <c:pt idx="84">
                  <c:v>587.42328585849646</c:v>
                </c:pt>
                <c:pt idx="85">
                  <c:v>600.47077365554969</c:v>
                </c:pt>
                <c:pt idx="86">
                  <c:v>613.35151839894752</c:v>
                </c:pt>
                <c:pt idx="87">
                  <c:v>626.05077321864144</c:v>
                </c:pt>
                <c:pt idx="88">
                  <c:v>638.5547007284564</c:v>
                </c:pt>
                <c:pt idx="89">
                  <c:v>650.85041363265066</c:v>
                </c:pt>
                <c:pt idx="90">
                  <c:v>662.92600486404319</c:v>
                </c:pt>
                <c:pt idx="91">
                  <c:v>674.77057631219168</c:v>
                </c:pt>
                <c:pt idx="92">
                  <c:v>686.37425529520658</c:v>
                </c:pt>
                <c:pt idx="93">
                  <c:v>697.7282010926333</c:v>
                </c:pt>
                <c:pt idx="94">
                  <c:v>708.82460711123622</c:v>
                </c:pt>
                <c:pt idx="95">
                  <c:v>719.65669503845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43</c:v>
                </c:pt>
                <c:pt idx="4">
                  <c:v>43</c:v>
                </c:pt>
                <c:pt idx="5">
                  <c:v>47</c:v>
                </c:pt>
                <c:pt idx="6">
                  <c:v>47</c:v>
                </c:pt>
                <c:pt idx="7">
                  <c:v>47</c:v>
                </c:pt>
                <c:pt idx="8">
                  <c:v>47</c:v>
                </c:pt>
                <c:pt idx="9">
                  <c:v>47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64</c:v>
                </c:pt>
                <c:pt idx="14">
                  <c:v>68</c:v>
                </c:pt>
                <c:pt idx="15">
                  <c:v>68</c:v>
                </c:pt>
                <c:pt idx="16">
                  <c:v>68</c:v>
                </c:pt>
                <c:pt idx="17">
                  <c:v>70</c:v>
                </c:pt>
                <c:pt idx="18">
                  <c:v>71</c:v>
                </c:pt>
                <c:pt idx="19">
                  <c:v>78</c:v>
                </c:pt>
                <c:pt idx="20">
                  <c:v>88</c:v>
                </c:pt>
                <c:pt idx="21">
                  <c:v>100</c:v>
                </c:pt>
                <c:pt idx="22">
                  <c:v>102</c:v>
                </c:pt>
                <c:pt idx="23">
                  <c:v>108</c:v>
                </c:pt>
                <c:pt idx="24">
                  <c:v>119</c:v>
                </c:pt>
                <c:pt idx="25">
                  <c:v>134</c:v>
                </c:pt>
                <c:pt idx="26">
                  <c:v>143</c:v>
                </c:pt>
                <c:pt idx="27">
                  <c:v>149</c:v>
                </c:pt>
                <c:pt idx="28">
                  <c:v>162</c:v>
                </c:pt>
                <c:pt idx="29">
                  <c:v>172</c:v>
                </c:pt>
                <c:pt idx="30">
                  <c:v>188</c:v>
                </c:pt>
                <c:pt idx="31">
                  <c:v>218</c:v>
                </c:pt>
                <c:pt idx="32">
                  <c:v>237</c:v>
                </c:pt>
                <c:pt idx="33">
                  <c:v>255</c:v>
                </c:pt>
                <c:pt idx="34">
                  <c:v>273</c:v>
                </c:pt>
                <c:pt idx="35">
                  <c:v>293</c:v>
                </c:pt>
                <c:pt idx="36">
                  <c:v>303</c:v>
                </c:pt>
                <c:pt idx="37">
                  <c:v>319</c:v>
                </c:pt>
                <c:pt idx="38">
                  <c:v>353</c:v>
                </c:pt>
                <c:pt idx="39">
                  <c:v>370</c:v>
                </c:pt>
                <c:pt idx="40">
                  <c:v>401</c:v>
                </c:pt>
                <c:pt idx="41">
                  <c:v>442</c:v>
                </c:pt>
                <c:pt idx="42">
                  <c:v>465</c:v>
                </c:pt>
                <c:pt idx="43">
                  <c:v>489</c:v>
                </c:pt>
                <c:pt idx="44">
                  <c:v>504</c:v>
                </c:pt>
                <c:pt idx="45">
                  <c:v>560</c:v>
                </c:pt>
                <c:pt idx="46">
                  <c:v>602</c:v>
                </c:pt>
                <c:pt idx="47">
                  <c:v>624</c:v>
                </c:pt>
                <c:pt idx="48">
                  <c:v>685</c:v>
                </c:pt>
                <c:pt idx="49">
                  <c:v>731</c:v>
                </c:pt>
                <c:pt idx="50">
                  <c:v>746</c:v>
                </c:pt>
                <c:pt idx="51">
                  <c:v>764</c:v>
                </c:pt>
                <c:pt idx="52">
                  <c:v>825</c:v>
                </c:pt>
                <c:pt idx="53">
                  <c:v>903</c:v>
                </c:pt>
                <c:pt idx="54">
                  <c:v>978</c:v>
                </c:pt>
                <c:pt idx="55">
                  <c:v>1015</c:v>
                </c:pt>
                <c:pt idx="56">
                  <c:v>1059</c:v>
                </c:pt>
                <c:pt idx="57">
                  <c:v>1100</c:v>
                </c:pt>
                <c:pt idx="58">
                  <c:v>1144</c:v>
                </c:pt>
                <c:pt idx="59">
                  <c:v>1187</c:v>
                </c:pt>
                <c:pt idx="60">
                  <c:v>1240</c:v>
                </c:pt>
                <c:pt idx="61">
                  <c:v>1280</c:v>
                </c:pt>
                <c:pt idx="62">
                  <c:v>1345</c:v>
                </c:pt>
                <c:pt idx="63">
                  <c:v>1389</c:v>
                </c:pt>
                <c:pt idx="64">
                  <c:v>1410</c:v>
                </c:pt>
                <c:pt idx="65">
                  <c:v>1453</c:v>
                </c:pt>
                <c:pt idx="66">
                  <c:v>1489</c:v>
                </c:pt>
                <c:pt idx="67">
                  <c:v>1537</c:v>
                </c:pt>
                <c:pt idx="68">
                  <c:v>1578</c:v>
                </c:pt>
                <c:pt idx="69">
                  <c:v>1619</c:v>
                </c:pt>
                <c:pt idx="70">
                  <c:v>1661</c:v>
                </c:pt>
                <c:pt idx="71">
                  <c:v>1678</c:v>
                </c:pt>
                <c:pt idx="72">
                  <c:v>1700</c:v>
                </c:pt>
                <c:pt idx="73">
                  <c:v>1763</c:v>
                </c:pt>
                <c:pt idx="74">
                  <c:v>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70.93853397244726</c:v>
                </c:pt>
                <c:pt idx="43">
                  <c:v>500.49012801857521</c:v>
                </c:pt>
                <c:pt idx="44">
                  <c:v>530.67848185405023</c:v>
                </c:pt>
                <c:pt idx="45">
                  <c:v>561.63216771216275</c:v>
                </c:pt>
                <c:pt idx="46">
                  <c:v>593.38649592392903</c:v>
                </c:pt>
                <c:pt idx="47">
                  <c:v>625.7620440881326</c:v>
                </c:pt>
                <c:pt idx="48">
                  <c:v>658.75212647742433</c:v>
                </c:pt>
                <c:pt idx="49">
                  <c:v>692.22307514484623</c:v>
                </c:pt>
                <c:pt idx="50">
                  <c:v>726.12112421483505</c:v>
                </c:pt>
                <c:pt idx="51">
                  <c:v>760.51816450402566</c:v>
                </c:pt>
                <c:pt idx="52">
                  <c:v>795.29800143590819</c:v>
                </c:pt>
                <c:pt idx="53">
                  <c:v>830.44828943770017</c:v>
                </c:pt>
                <c:pt idx="54">
                  <c:v>866.05642269921645</c:v>
                </c:pt>
                <c:pt idx="55">
                  <c:v>901.99365532763591</c:v>
                </c:pt>
                <c:pt idx="56">
                  <c:v>938.21616399413642</c:v>
                </c:pt>
                <c:pt idx="57">
                  <c:v>974.75627932396901</c:v>
                </c:pt>
                <c:pt idx="58">
                  <c:v>1011.5567997802046</c:v>
                </c:pt>
                <c:pt idx="59">
                  <c:v>1048.5641943459862</c:v>
                </c:pt>
                <c:pt idx="60">
                  <c:v>1085.7820576036916</c:v>
                </c:pt>
                <c:pt idx="61">
                  <c:v>1123.2047891841935</c:v>
                </c:pt>
                <c:pt idx="62">
                  <c:v>1160.7676679043559</c:v>
                </c:pt>
                <c:pt idx="63">
                  <c:v>1198.4312974996019</c:v>
                </c:pt>
                <c:pt idx="64">
                  <c:v>1236.197589005807</c:v>
                </c:pt>
                <c:pt idx="65">
                  <c:v>1273.9954977702128</c:v>
                </c:pt>
                <c:pt idx="66">
                  <c:v>1311.8014959003131</c:v>
                </c:pt>
                <c:pt idx="67">
                  <c:v>1349.6273287400695</c:v>
                </c:pt>
                <c:pt idx="68">
                  <c:v>1387.3974075139329</c:v>
                </c:pt>
                <c:pt idx="69">
                  <c:v>1425.0919140799035</c:v>
                </c:pt>
                <c:pt idx="70">
                  <c:v>1462.6788455231099</c:v>
                </c:pt>
                <c:pt idx="71">
                  <c:v>1500.1263422903844</c:v>
                </c:pt>
                <c:pt idx="72">
                  <c:v>1537.4034435019073</c:v>
                </c:pt>
                <c:pt idx="73">
                  <c:v>1574.480083203681</c:v>
                </c:pt>
                <c:pt idx="74">
                  <c:v>1611.3268501732705</c:v>
                </c:pt>
                <c:pt idx="75">
                  <c:v>1647.9150014877421</c:v>
                </c:pt>
                <c:pt idx="76">
                  <c:v>1684.2165591512805</c:v>
                </c:pt>
                <c:pt idx="77">
                  <c:v>1720.2043962105249</c:v>
                </c:pt>
                <c:pt idx="78">
                  <c:v>1755.852379047624</c:v>
                </c:pt>
                <c:pt idx="79">
                  <c:v>1791.1354547105423</c:v>
                </c:pt>
                <c:pt idx="80">
                  <c:v>1826.0296903231538</c:v>
                </c:pt>
                <c:pt idx="81">
                  <c:v>1860.5123117686521</c:v>
                </c:pt>
                <c:pt idx="82">
                  <c:v>1894.5617290376215</c:v>
                </c:pt>
                <c:pt idx="83">
                  <c:v>1928.1575522923522</c:v>
                </c:pt>
                <c:pt idx="84">
                  <c:v>1961.2806265158817</c:v>
                </c:pt>
                <c:pt idx="85">
                  <c:v>1993.9130585053517</c:v>
                </c:pt>
                <c:pt idx="86">
                  <c:v>2026.0382273670361</c:v>
                </c:pt>
                <c:pt idx="87">
                  <c:v>2057.640797860975</c:v>
                </c:pt>
                <c:pt idx="88">
                  <c:v>2088.706732134403</c:v>
                </c:pt>
                <c:pt idx="89">
                  <c:v>2119.2232840394827</c:v>
                </c:pt>
                <c:pt idx="90">
                  <c:v>2149.178984865101</c:v>
                </c:pt>
                <c:pt idx="91">
                  <c:v>2178.5636410388033</c:v>
                </c:pt>
                <c:pt idx="92">
                  <c:v>2207.3683185804339</c:v>
                </c:pt>
                <c:pt idx="93">
                  <c:v>2235.5853188268338</c:v>
                </c:pt>
                <c:pt idx="94">
                  <c:v>2263.2081587469665</c:v>
                </c:pt>
                <c:pt idx="95">
                  <c:v>2290.2315450848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71.54099842250918</c:v>
                </c:pt>
                <c:pt idx="43">
                  <c:v>501.93630722642871</c:v>
                </c:pt>
                <c:pt idx="44">
                  <c:v>533.23799389761427</c:v>
                </c:pt>
                <c:pt idx="45">
                  <c:v>565.60195835423974</c:v>
                </c:pt>
                <c:pt idx="46">
                  <c:v>599.08987403405888</c:v>
                </c:pt>
                <c:pt idx="47">
                  <c:v>633.54717138610886</c:v>
                </c:pt>
                <c:pt idx="48">
                  <c:v>668.98849321113971</c:v>
                </c:pt>
                <c:pt idx="49">
                  <c:v>705.29903774447052</c:v>
                </c:pt>
                <c:pt idx="50">
                  <c:v>742.44116628084964</c:v>
                </c:pt>
                <c:pt idx="51">
                  <c:v>780.50060039476671</c:v>
                </c:pt>
                <c:pt idx="52">
                  <c:v>819.37348154626898</c:v>
                </c:pt>
                <c:pt idx="53">
                  <c:v>859.05746239377379</c:v>
                </c:pt>
                <c:pt idx="54">
                  <c:v>899.64797665445758</c:v>
                </c:pt>
                <c:pt idx="55">
                  <c:v>941.02238933984779</c:v>
                </c:pt>
                <c:pt idx="56">
                  <c:v>983.14094005058655</c:v>
                </c:pt>
                <c:pt idx="57">
                  <c:v>1026.0379318457224</c:v>
                </c:pt>
                <c:pt idx="58">
                  <c:v>1069.6564099752054</c:v>
                </c:pt>
                <c:pt idx="59">
                  <c:v>1113.9412818613482</c:v>
                </c:pt>
                <c:pt idx="60">
                  <c:v>1158.8924097615302</c:v>
                </c:pt>
                <c:pt idx="61">
                  <c:v>1204.4983556191237</c:v>
                </c:pt>
                <c:pt idx="62">
                  <c:v>1250.6867176017954</c:v>
                </c:pt>
                <c:pt idx="63">
                  <c:v>1297.4083029032149</c:v>
                </c:pt>
                <c:pt idx="64">
                  <c:v>1344.6531877600421</c:v>
                </c:pt>
                <c:pt idx="65">
                  <c:v>1392.3373213636928</c:v>
                </c:pt>
                <c:pt idx="66">
                  <c:v>1440.4227433675658</c:v>
                </c:pt>
                <c:pt idx="67">
                  <c:v>1488.9047932982508</c:v>
                </c:pt>
                <c:pt idx="68">
                  <c:v>1537.6898929519593</c:v>
                </c:pt>
                <c:pt idx="69">
                  <c:v>1586.738570122744</c:v>
                </c:pt>
                <c:pt idx="70">
                  <c:v>1635.9977438379774</c:v>
                </c:pt>
                <c:pt idx="71">
                  <c:v>1685.4131887682715</c:v>
                </c:pt>
                <c:pt idx="72">
                  <c:v>1734.9306924903535</c:v>
                </c:pt>
                <c:pt idx="73">
                  <c:v>1784.4961522785848</c:v>
                </c:pt>
                <c:pt idx="74">
                  <c:v>1834.0553455056206</c:v>
                </c:pt>
                <c:pt idx="75">
                  <c:v>1883.5540635233738</c:v>
                </c:pt>
                <c:pt idx="76">
                  <c:v>1932.9383644417514</c:v>
                </c:pt>
                <c:pt idx="77">
                  <c:v>1982.154811333013</c:v>
                </c:pt>
                <c:pt idx="78">
                  <c:v>2031.1507926208196</c:v>
                </c:pt>
                <c:pt idx="79">
                  <c:v>2079.87476584144</c:v>
                </c:pt>
                <c:pt idx="80">
                  <c:v>2128.2764330392265</c:v>
                </c:pt>
                <c:pt idx="81">
                  <c:v>2176.3069121877761</c:v>
                </c:pt>
                <c:pt idx="82">
                  <c:v>2223.9188880461625</c:v>
                </c:pt>
                <c:pt idx="83">
                  <c:v>2271.0667466787731</c:v>
                </c:pt>
                <c:pt idx="84">
                  <c:v>2317.7067289304432</c:v>
                </c:pt>
                <c:pt idx="85">
                  <c:v>2363.7970678257084</c:v>
                </c:pt>
                <c:pt idx="86">
                  <c:v>2409.2980967818112</c:v>
                </c:pt>
                <c:pt idx="87">
                  <c:v>2454.1723538184501</c:v>
                </c:pt>
                <c:pt idx="88">
                  <c:v>2498.3846760311026</c:v>
                </c:pt>
                <c:pt idx="89">
                  <c:v>2541.9022621174977</c:v>
                </c:pt>
                <c:pt idx="90">
                  <c:v>2584.6947143180055</c:v>
                </c:pt>
                <c:pt idx="91">
                  <c:v>2626.7340884692408</c:v>
                </c:pt>
                <c:pt idx="92">
                  <c:v>2667.994917224069</c:v>
                </c:pt>
                <c:pt idx="93">
                  <c:v>2708.4542128687244</c:v>
                </c:pt>
                <c:pt idx="94">
                  <c:v>2748.0914681627387</c:v>
                </c:pt>
                <c:pt idx="95">
                  <c:v>2786.8886410384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72.14728925505983</c:v>
                </c:pt>
                <c:pt idx="43">
                  <c:v>503.39631420824367</c:v>
                </c:pt>
                <c:pt idx="44">
                  <c:v>535.83162867095098</c:v>
                </c:pt>
                <c:pt idx="45">
                  <c:v>569.64138494444865</c:v>
                </c:pt>
                <c:pt idx="46">
                  <c:v>604.91925580625286</c:v>
                </c:pt>
                <c:pt idx="47">
                  <c:v>641.54180027735447</c:v>
                </c:pt>
                <c:pt idx="48">
                  <c:v>679.55183605943512</c:v>
                </c:pt>
                <c:pt idx="49">
                  <c:v>718.86076141597596</c:v>
                </c:pt>
                <c:pt idx="50">
                  <c:v>759.4547642615895</c:v>
                </c:pt>
                <c:pt idx="51">
                  <c:v>801.44136164189263</c:v>
                </c:pt>
                <c:pt idx="52">
                  <c:v>844.73713388548958</c:v>
                </c:pt>
                <c:pt idx="53">
                  <c:v>889.35781304405543</c:v>
                </c:pt>
                <c:pt idx="54">
                  <c:v>935.41480780753648</c:v>
                </c:pt>
                <c:pt idx="55">
                  <c:v>982.79924246643475</c:v>
                </c:pt>
                <c:pt idx="56">
                  <c:v>1031.4826955840917</c:v>
                </c:pt>
                <c:pt idx="57">
                  <c:v>1081.5081744255467</c:v>
                </c:pt>
                <c:pt idx="58">
                  <c:v>1132.8250859694031</c:v>
                </c:pt>
                <c:pt idx="59">
                  <c:v>1185.3821557414549</c:v>
                </c:pt>
                <c:pt idx="60">
                  <c:v>1239.179963507818</c:v>
                </c:pt>
                <c:pt idx="61">
                  <c:v>1294.2046552098509</c:v>
                </c:pt>
                <c:pt idx="62">
                  <c:v>1350.3784317419893</c:v>
                </c:pt>
                <c:pt idx="63">
                  <c:v>1407.6433944352682</c:v>
                </c:pt>
                <c:pt idx="64">
                  <c:v>1465.9776080011368</c:v>
                </c:pt>
                <c:pt idx="65">
                  <c:v>1525.2826476746618</c:v>
                </c:pt>
                <c:pt idx="66">
                  <c:v>1585.5035297493475</c:v>
                </c:pt>
                <c:pt idx="67">
                  <c:v>1646.6152064273829</c:v>
                </c:pt>
                <c:pt idx="68">
                  <c:v>1708.5007757481908</c:v>
                </c:pt>
                <c:pt idx="69">
                  <c:v>1771.0944511122821</c:v>
                </c:pt>
                <c:pt idx="70">
                  <c:v>1834.3141517343058</c:v>
                </c:pt>
                <c:pt idx="71">
                  <c:v>1898.0741664651789</c:v>
                </c:pt>
                <c:pt idx="72">
                  <c:v>1962.2868550037026</c:v>
                </c:pt>
                <c:pt idx="73">
                  <c:v>2026.862933937181</c:v>
                </c:pt>
                <c:pt idx="74">
                  <c:v>2091.7113407575343</c:v>
                </c:pt>
                <c:pt idx="75">
                  <c:v>2156.739608785947</c:v>
                </c:pt>
                <c:pt idx="76">
                  <c:v>2221.8544151261185</c:v>
                </c:pt>
                <c:pt idx="77">
                  <c:v>2286.9621164854775</c:v>
                </c:pt>
                <c:pt idx="78">
                  <c:v>2351.9694050031922</c:v>
                </c:pt>
                <c:pt idx="79">
                  <c:v>2416.7838637065379</c:v>
                </c:pt>
                <c:pt idx="80">
                  <c:v>2481.3144302197957</c:v>
                </c:pt>
                <c:pt idx="81">
                  <c:v>2545.4718514965848</c:v>
                </c:pt>
                <c:pt idx="82">
                  <c:v>2609.1691059387517</c:v>
                </c:pt>
                <c:pt idx="83">
                  <c:v>2672.3217953944909</c:v>
                </c:pt>
                <c:pt idx="84">
                  <c:v>2734.8485494234692</c:v>
                </c:pt>
                <c:pt idx="85">
                  <c:v>2796.671394535455</c:v>
                </c:pt>
                <c:pt idx="86">
                  <c:v>2857.7160687854375</c:v>
                </c:pt>
                <c:pt idx="87">
                  <c:v>2917.9123127929124</c:v>
                </c:pt>
                <c:pt idx="88">
                  <c:v>2977.1941292108108</c:v>
                </c:pt>
                <c:pt idx="89">
                  <c:v>3035.4999799805287</c:v>
                </c:pt>
                <c:pt idx="90">
                  <c:v>3092.7729355167526</c:v>
                </c:pt>
                <c:pt idx="91">
                  <c:v>3148.9608145535681</c:v>
                </c:pt>
                <c:pt idx="92">
                  <c:v>3204.0162679746313</c:v>
                </c:pt>
                <c:pt idx="93">
                  <c:v>3257.8968159004717</c:v>
                </c:pt>
                <c:pt idx="94">
                  <c:v>3310.5648633587516</c:v>
                </c:pt>
                <c:pt idx="95">
                  <c:v>3361.9876770108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4</c:v>
                </c:pt>
                <c:pt idx="1">
                  <c:v>14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1</c:v>
                </c:pt>
                <c:pt idx="9">
                  <c:v>21</c:v>
                </c:pt>
                <c:pt idx="10">
                  <c:v>22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7</c:v>
                </c:pt>
                <c:pt idx="17">
                  <c:v>36</c:v>
                </c:pt>
                <c:pt idx="18">
                  <c:v>39</c:v>
                </c:pt>
                <c:pt idx="19">
                  <c:v>42</c:v>
                </c:pt>
                <c:pt idx="20">
                  <c:v>43</c:v>
                </c:pt>
                <c:pt idx="21">
                  <c:v>45</c:v>
                </c:pt>
                <c:pt idx="22">
                  <c:v>49</c:v>
                </c:pt>
                <c:pt idx="23">
                  <c:v>52</c:v>
                </c:pt>
                <c:pt idx="24">
                  <c:v>53</c:v>
                </c:pt>
                <c:pt idx="25">
                  <c:v>56</c:v>
                </c:pt>
                <c:pt idx="26">
                  <c:v>60</c:v>
                </c:pt>
                <c:pt idx="27">
                  <c:v>61</c:v>
                </c:pt>
                <c:pt idx="28">
                  <c:v>63</c:v>
                </c:pt>
                <c:pt idx="29">
                  <c:v>66</c:v>
                </c:pt>
                <c:pt idx="30">
                  <c:v>68</c:v>
                </c:pt>
                <c:pt idx="31">
                  <c:v>69</c:v>
                </c:pt>
                <c:pt idx="32">
                  <c:v>77</c:v>
                </c:pt>
                <c:pt idx="33">
                  <c:v>83</c:v>
                </c:pt>
                <c:pt idx="34">
                  <c:v>93</c:v>
                </c:pt>
                <c:pt idx="35">
                  <c:v>99</c:v>
                </c:pt>
                <c:pt idx="36">
                  <c:v>109</c:v>
                </c:pt>
                <c:pt idx="37">
                  <c:v>111</c:v>
                </c:pt>
                <c:pt idx="38">
                  <c:v>123</c:v>
                </c:pt>
                <c:pt idx="39">
                  <c:v>129</c:v>
                </c:pt>
                <c:pt idx="40">
                  <c:v>139</c:v>
                </c:pt>
                <c:pt idx="41">
                  <c:v>147</c:v>
                </c:pt>
                <c:pt idx="42">
                  <c:v>161</c:v>
                </c:pt>
                <c:pt idx="43">
                  <c:v>173</c:v>
                </c:pt>
                <c:pt idx="44">
                  <c:v>181</c:v>
                </c:pt>
                <c:pt idx="45">
                  <c:v>194</c:v>
                </c:pt>
                <c:pt idx="46">
                  <c:v>207</c:v>
                </c:pt>
                <c:pt idx="47">
                  <c:v>224</c:v>
                </c:pt>
                <c:pt idx="48">
                  <c:v>237</c:v>
                </c:pt>
                <c:pt idx="49">
                  <c:v>244</c:v>
                </c:pt>
                <c:pt idx="50">
                  <c:v>258</c:v>
                </c:pt>
                <c:pt idx="51">
                  <c:v>269</c:v>
                </c:pt>
                <c:pt idx="52">
                  <c:v>296</c:v>
                </c:pt>
                <c:pt idx="53">
                  <c:v>304</c:v>
                </c:pt>
                <c:pt idx="54">
                  <c:v>320</c:v>
                </c:pt>
                <c:pt idx="55">
                  <c:v>337</c:v>
                </c:pt>
                <c:pt idx="56">
                  <c:v>354</c:v>
                </c:pt>
                <c:pt idx="57">
                  <c:v>377</c:v>
                </c:pt>
                <c:pt idx="58">
                  <c:v>397</c:v>
                </c:pt>
                <c:pt idx="59">
                  <c:v>426</c:v>
                </c:pt>
                <c:pt idx="60">
                  <c:v>447</c:v>
                </c:pt>
                <c:pt idx="61">
                  <c:v>473</c:v>
                </c:pt>
                <c:pt idx="62">
                  <c:v>497</c:v>
                </c:pt>
                <c:pt idx="63">
                  <c:v>517</c:v>
                </c:pt>
                <c:pt idx="64">
                  <c:v>532</c:v>
                </c:pt>
                <c:pt idx="65">
                  <c:v>552</c:v>
                </c:pt>
                <c:pt idx="66">
                  <c:v>574</c:v>
                </c:pt>
                <c:pt idx="67">
                  <c:v>602</c:v>
                </c:pt>
                <c:pt idx="68">
                  <c:v>624</c:v>
                </c:pt>
                <c:pt idx="69">
                  <c:v>648</c:v>
                </c:pt>
                <c:pt idx="70">
                  <c:v>662</c:v>
                </c:pt>
                <c:pt idx="71">
                  <c:v>678</c:v>
                </c:pt>
                <c:pt idx="72">
                  <c:v>693</c:v>
                </c:pt>
                <c:pt idx="73">
                  <c:v>706</c:v>
                </c:pt>
                <c:pt idx="74">
                  <c:v>7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8.07539952143247</c:v>
                </c:pt>
                <c:pt idx="43">
                  <c:v>169.38424640476242</c:v>
                </c:pt>
                <c:pt idx="44">
                  <c:v>180.93461886082287</c:v>
                </c:pt>
                <c:pt idx="45">
                  <c:v>192.77565542826846</c:v>
                </c:pt>
                <c:pt idx="46">
                  <c:v>204.92083864839728</c:v>
                </c:pt>
                <c:pt idx="47">
                  <c:v>217.30256037641169</c:v>
                </c:pt>
                <c:pt idx="48">
                  <c:v>229.91885031658109</c:v>
                </c:pt>
                <c:pt idx="49">
                  <c:v>242.71954696700391</c:v>
                </c:pt>
                <c:pt idx="50">
                  <c:v>255.6832824412341</c:v>
                </c:pt>
                <c:pt idx="51">
                  <c:v>268.83751657436449</c:v>
                </c:pt>
                <c:pt idx="52">
                  <c:v>282.13864014287168</c:v>
                </c:pt>
                <c:pt idx="53">
                  <c:v>295.58156149892795</c:v>
                </c:pt>
                <c:pt idx="54">
                  <c:v>309.20007546506895</c:v>
                </c:pt>
                <c:pt idx="55">
                  <c:v>322.944885974567</c:v>
                </c:pt>
                <c:pt idx="56">
                  <c:v>336.79928495905966</c:v>
                </c:pt>
                <c:pt idx="57">
                  <c:v>350.77559309515391</c:v>
                </c:pt>
                <c:pt idx="58">
                  <c:v>364.8517947041114</c:v>
                </c:pt>
                <c:pt idx="59">
                  <c:v>379.00784724186337</c:v>
                </c:pt>
                <c:pt idx="60">
                  <c:v>393.24543600882714</c:v>
                </c:pt>
                <c:pt idx="61">
                  <c:v>407.56160253628946</c:v>
                </c:pt>
                <c:pt idx="62">
                  <c:v>421.932070311666</c:v>
                </c:pt>
                <c:pt idx="63">
                  <c:v>436.34174560916614</c:v>
                </c:pt>
                <c:pt idx="64">
                  <c:v>450.7910293797367</c:v>
                </c:pt>
                <c:pt idx="65">
                  <c:v>465.25271905485243</c:v>
                </c:pt>
                <c:pt idx="66">
                  <c:v>479.71796515333585</c:v>
                </c:pt>
                <c:pt idx="67">
                  <c:v>494.19170579058277</c:v>
                </c:pt>
                <c:pt idx="68">
                  <c:v>508.64456635848592</c:v>
                </c:pt>
                <c:pt idx="69">
                  <c:v>523.06908531136389</c:v>
                </c:pt>
                <c:pt idx="70">
                  <c:v>537.45301171924439</c:v>
                </c:pt>
                <c:pt idx="71">
                  <c:v>551.78414995890216</c:v>
                </c:pt>
                <c:pt idx="72">
                  <c:v>566.05064721154554</c:v>
                </c:pt>
                <c:pt idx="73">
                  <c:v>580.24099155085173</c:v>
                </c:pt>
                <c:pt idx="74">
                  <c:v>594.34391968467605</c:v>
                </c:pt>
                <c:pt idx="75">
                  <c:v>608.34842234148164</c:v>
                </c:pt>
                <c:pt idx="76">
                  <c:v>622.24378127025216</c:v>
                </c:pt>
                <c:pt idx="77">
                  <c:v>636.01960224716265</c:v>
                </c:pt>
                <c:pt idx="78">
                  <c:v>649.66586998775824</c:v>
                </c:pt>
                <c:pt idx="79">
                  <c:v>663.17298153516401</c:v>
                </c:pt>
                <c:pt idx="80">
                  <c:v>676.53176139992252</c:v>
                </c:pt>
                <c:pt idx="81">
                  <c:v>689.73347639723204</c:v>
                </c:pt>
                <c:pt idx="82">
                  <c:v>702.76984550259613</c:v>
                </c:pt>
                <c:pt idx="83">
                  <c:v>715.63304616820847</c:v>
                </c:pt>
                <c:pt idx="84">
                  <c:v>728.31572759695007</c:v>
                </c:pt>
                <c:pt idx="85">
                  <c:v>740.81102120101582</c:v>
                </c:pt>
                <c:pt idx="86">
                  <c:v>753.1125448099541</c:v>
                </c:pt>
                <c:pt idx="87">
                  <c:v>765.21440787921904</c:v>
                </c:pt>
                <c:pt idx="88">
                  <c:v>777.11121600637875</c:v>
                </c:pt>
                <c:pt idx="89">
                  <c:v>788.79806884837149</c:v>
                </c:pt>
                <c:pt idx="90">
                  <c:v>800.27055485408891</c:v>
                </c:pt>
                <c:pt idx="91">
                  <c:v>811.5247503710367</c:v>
                </c:pt>
                <c:pt idx="92">
                  <c:v>822.55721382547267</c:v>
                </c:pt>
                <c:pt idx="93">
                  <c:v>833.36497658202541</c:v>
                </c:pt>
                <c:pt idx="94">
                  <c:v>843.94553551027536</c:v>
                </c:pt>
                <c:pt idx="95">
                  <c:v>854.29684312030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8.30516925303226</c:v>
                </c:pt>
                <c:pt idx="43">
                  <c:v>169.93579198885575</c:v>
                </c:pt>
                <c:pt idx="44">
                  <c:v>181.91077514365105</c:v>
                </c:pt>
                <c:pt idx="45">
                  <c:v>194.28969010358813</c:v>
                </c:pt>
                <c:pt idx="46">
                  <c:v>207.09608590471856</c:v>
                </c:pt>
                <c:pt idx="47">
                  <c:v>220.27185157085688</c:v>
                </c:pt>
                <c:pt idx="48">
                  <c:v>233.82318719490416</c:v>
                </c:pt>
                <c:pt idx="49">
                  <c:v>247.7071693385123</c:v>
                </c:pt>
                <c:pt idx="50">
                  <c:v>261.90863209811278</c:v>
                </c:pt>
                <c:pt idx="51">
                  <c:v>276.46036304763595</c:v>
                </c:pt>
                <c:pt idx="52">
                  <c:v>291.3235071460399</c:v>
                </c:pt>
                <c:pt idx="53">
                  <c:v>306.49683911709428</c:v>
                </c:pt>
                <c:pt idx="54">
                  <c:v>322.01726881543118</c:v>
                </c:pt>
                <c:pt idx="55">
                  <c:v>337.83788015479627</c:v>
                </c:pt>
                <c:pt idx="56">
                  <c:v>353.94356259867959</c:v>
                </c:pt>
                <c:pt idx="57">
                  <c:v>370.34743361694007</c:v>
                </c:pt>
                <c:pt idx="58">
                  <c:v>387.02761223178862</c:v>
                </c:pt>
                <c:pt idx="59">
                  <c:v>403.96349818513363</c:v>
                </c:pt>
                <c:pt idx="60">
                  <c:v>421.15538785924639</c:v>
                </c:pt>
                <c:pt idx="61">
                  <c:v>438.59812718369989</c:v>
                </c:pt>
                <c:pt idx="62">
                  <c:v>456.26453412708452</c:v>
                </c:pt>
                <c:pt idx="63">
                  <c:v>474.1358005909118</c:v>
                </c:pt>
                <c:pt idx="64">
                  <c:v>492.20783399601237</c:v>
                </c:pt>
                <c:pt idx="65">
                  <c:v>510.44848626392894</c:v>
                </c:pt>
                <c:pt idx="66">
                  <c:v>528.84341604799602</c:v>
                </c:pt>
                <c:pt idx="67">
                  <c:v>547.39131294047093</c:v>
                </c:pt>
                <c:pt idx="68">
                  <c:v>566.05594700732581</c:v>
                </c:pt>
                <c:pt idx="69">
                  <c:v>584.82236149232108</c:v>
                </c:pt>
                <c:pt idx="70">
                  <c:v>603.6702629987783</c:v>
                </c:pt>
                <c:pt idx="71">
                  <c:v>622.57891923647685</c:v>
                </c:pt>
                <c:pt idx="72">
                  <c:v>641.52759952498741</c:v>
                </c:pt>
                <c:pt idx="73">
                  <c:v>660.49561107408681</c:v>
                </c:pt>
                <c:pt idx="74">
                  <c:v>679.46221059442132</c:v>
                </c:pt>
                <c:pt idx="75">
                  <c:v>698.40665572257353</c:v>
                </c:pt>
                <c:pt idx="76">
                  <c:v>717.30830171274658</c:v>
                </c:pt>
                <c:pt idx="77">
                  <c:v>736.1466926186597</c:v>
                </c:pt>
                <c:pt idx="78">
                  <c:v>754.90168453024421</c:v>
                </c:pt>
                <c:pt idx="79">
                  <c:v>773.55353878725828</c:v>
                </c:pt>
                <c:pt idx="80">
                  <c:v>792.08298917718207</c:v>
                </c:pt>
                <c:pt idx="81">
                  <c:v>810.47130762078484</c:v>
                </c:pt>
                <c:pt idx="82">
                  <c:v>828.70036217294148</c:v>
                </c:pt>
                <c:pt idx="83">
                  <c:v>846.75266879402466</c:v>
                </c:pt>
                <c:pt idx="84">
                  <c:v>864.6114501930914</c:v>
                </c:pt>
                <c:pt idx="85">
                  <c:v>882.26068867820072</c:v>
                </c:pt>
                <c:pt idx="86">
                  <c:v>899.68516794711707</c:v>
                </c:pt>
                <c:pt idx="87">
                  <c:v>916.870513230558</c:v>
                </c:pt>
                <c:pt idx="88">
                  <c:v>933.80322761863761</c:v>
                </c:pt>
                <c:pt idx="89">
                  <c:v>950.47071626203672</c:v>
                </c:pt>
                <c:pt idx="90">
                  <c:v>966.86130283497107</c:v>
                </c:pt>
                <c:pt idx="91">
                  <c:v>982.96424882272777</c:v>
                </c:pt>
                <c:pt idx="92">
                  <c:v>998.76976273873584</c:v>
                </c:pt>
                <c:pt idx="93">
                  <c:v>1014.2690015623222</c:v>
                </c:pt>
                <c:pt idx="94">
                  <c:v>1029.4540713490903</c:v>
                </c:pt>
                <c:pt idx="95">
                  <c:v>1044.3180215665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8.53639968021378</c:v>
                </c:pt>
                <c:pt idx="43">
                  <c:v>170.49261471748278</c:v>
                </c:pt>
                <c:pt idx="44">
                  <c:v>182.89995167314049</c:v>
                </c:pt>
                <c:pt idx="45">
                  <c:v>195.8302935000778</c:v>
                </c:pt>
                <c:pt idx="46">
                  <c:v>209.31940644770677</c:v>
                </c:pt>
                <c:pt idx="47">
                  <c:v>223.32107211949858</c:v>
                </c:pt>
                <c:pt idx="48">
                  <c:v>237.85227495632881</c:v>
                </c:pt>
                <c:pt idx="49">
                  <c:v>252.88013051385855</c:v>
                </c:pt>
                <c:pt idx="50">
                  <c:v>268.39861663764543</c:v>
                </c:pt>
                <c:pt idx="51">
                  <c:v>284.44889314728607</c:v>
                </c:pt>
                <c:pt idx="52">
                  <c:v>300.99995810201995</c:v>
                </c:pt>
                <c:pt idx="53">
                  <c:v>318.05754508399741</c:v>
                </c:pt>
                <c:pt idx="54">
                  <c:v>335.66471767546261</c:v>
                </c:pt>
                <c:pt idx="55">
                  <c:v>353.77987076696849</c:v>
                </c:pt>
                <c:pt idx="56">
                  <c:v>372.39228187615333</c:v>
                </c:pt>
                <c:pt idx="57">
                  <c:v>391.51844979431246</c:v>
                </c:pt>
                <c:pt idx="58">
                  <c:v>411.13897875950965</c:v>
                </c:pt>
                <c:pt idx="59">
                  <c:v>431.23478185910534</c:v>
                </c:pt>
                <c:pt idx="60">
                  <c:v>451.80648369985141</c:v>
                </c:pt>
                <c:pt idx="61">
                  <c:v>472.84806000652469</c:v>
                </c:pt>
                <c:pt idx="62">
                  <c:v>494.33031458299286</c:v>
                </c:pt>
                <c:pt idx="63">
                  <c:v>516.23116124393118</c:v>
                </c:pt>
                <c:pt idx="64">
                  <c:v>538.54196644227477</c:v>
                </c:pt>
                <c:pt idx="65">
                  <c:v>561.22513407316183</c:v>
                </c:pt>
                <c:pt idx="66">
                  <c:v>584.25986064850326</c:v>
                </c:pt>
                <c:pt idx="67">
                  <c:v>607.63708475647718</c:v>
                </c:pt>
                <c:pt idx="68">
                  <c:v>631.31170054771803</c:v>
                </c:pt>
                <c:pt idx="69">
                  <c:v>655.25872738192834</c:v>
                </c:pt>
                <c:pt idx="70">
                  <c:v>679.44681711598128</c:v>
                </c:pt>
                <c:pt idx="71">
                  <c:v>703.84322895175853</c:v>
                </c:pt>
                <c:pt idx="72">
                  <c:v>728.41447683141769</c:v>
                </c:pt>
                <c:pt idx="73">
                  <c:v>753.12643752380859</c:v>
                </c:pt>
                <c:pt idx="74">
                  <c:v>777.94429757725197</c:v>
                </c:pt>
                <c:pt idx="75">
                  <c:v>802.83269676982604</c:v>
                </c:pt>
                <c:pt idx="76">
                  <c:v>827.75593750048154</c:v>
                </c:pt>
                <c:pt idx="77">
                  <c:v>852.67818968826418</c:v>
                </c:pt>
                <c:pt idx="78">
                  <c:v>877.5637424729623</c:v>
                </c:pt>
                <c:pt idx="79">
                  <c:v>902.37721659840395</c:v>
                </c:pt>
                <c:pt idx="80">
                  <c:v>927.08374193464408</c:v>
                </c:pt>
                <c:pt idx="81">
                  <c:v>951.64913165459711</c:v>
                </c:pt>
                <c:pt idx="82">
                  <c:v>976.04004423294896</c:v>
                </c:pt>
                <c:pt idx="83">
                  <c:v>1000.224133986409</c:v>
                </c:pt>
                <c:pt idx="84">
                  <c:v>1024.1702061287704</c:v>
                </c:pt>
                <c:pt idx="85">
                  <c:v>1047.8483586661623</c:v>
                </c:pt>
                <c:pt idx="86">
                  <c:v>1071.2301035746132</c:v>
                </c:pt>
                <c:pt idx="87">
                  <c:v>1094.2884788312465</c:v>
                </c:pt>
                <c:pt idx="88">
                  <c:v>1116.9981482801888</c:v>
                </c:pt>
                <c:pt idx="89">
                  <c:v>1139.3354778458388</c:v>
                </c:pt>
                <c:pt idx="90">
                  <c:v>1161.2785935452487</c:v>
                </c:pt>
                <c:pt idx="91">
                  <c:v>1182.8074355595006</c:v>
                </c:pt>
                <c:pt idx="92">
                  <c:v>1203.903791133074</c:v>
                </c:pt>
                <c:pt idx="93">
                  <c:v>1224.5513096187578</c:v>
                </c:pt>
                <c:pt idx="94">
                  <c:v>1244.735509220548</c:v>
                </c:pt>
                <c:pt idx="95">
                  <c:v>1264.4437686869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6</c:v>
                </c:pt>
                <c:pt idx="10">
                  <c:v>17</c:v>
                </c:pt>
                <c:pt idx="11">
                  <c:v>17</c:v>
                </c:pt>
                <c:pt idx="12">
                  <c:v>19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4</c:v>
                </c:pt>
                <c:pt idx="17">
                  <c:v>26</c:v>
                </c:pt>
                <c:pt idx="18">
                  <c:v>29</c:v>
                </c:pt>
                <c:pt idx="19">
                  <c:v>30</c:v>
                </c:pt>
                <c:pt idx="20">
                  <c:v>30</c:v>
                </c:pt>
                <c:pt idx="21">
                  <c:v>34</c:v>
                </c:pt>
                <c:pt idx="22">
                  <c:v>36</c:v>
                </c:pt>
                <c:pt idx="23">
                  <c:v>37</c:v>
                </c:pt>
                <c:pt idx="24">
                  <c:v>39</c:v>
                </c:pt>
                <c:pt idx="25">
                  <c:v>43</c:v>
                </c:pt>
                <c:pt idx="26">
                  <c:v>45</c:v>
                </c:pt>
                <c:pt idx="27">
                  <c:v>49</c:v>
                </c:pt>
                <c:pt idx="28">
                  <c:v>53</c:v>
                </c:pt>
                <c:pt idx="29">
                  <c:v>59</c:v>
                </c:pt>
                <c:pt idx="30">
                  <c:v>61</c:v>
                </c:pt>
                <c:pt idx="31">
                  <c:v>76</c:v>
                </c:pt>
                <c:pt idx="32">
                  <c:v>84</c:v>
                </c:pt>
                <c:pt idx="33">
                  <c:v>94</c:v>
                </c:pt>
                <c:pt idx="34">
                  <c:v>103</c:v>
                </c:pt>
                <c:pt idx="35">
                  <c:v>115</c:v>
                </c:pt>
                <c:pt idx="36">
                  <c:v>120</c:v>
                </c:pt>
                <c:pt idx="37">
                  <c:v>125</c:v>
                </c:pt>
                <c:pt idx="38">
                  <c:v>147</c:v>
                </c:pt>
                <c:pt idx="39">
                  <c:v>175</c:v>
                </c:pt>
                <c:pt idx="40">
                  <c:v>190</c:v>
                </c:pt>
                <c:pt idx="41">
                  <c:v>205</c:v>
                </c:pt>
                <c:pt idx="42">
                  <c:v>231</c:v>
                </c:pt>
                <c:pt idx="43">
                  <c:v>237</c:v>
                </c:pt>
                <c:pt idx="44">
                  <c:v>243</c:v>
                </c:pt>
                <c:pt idx="45">
                  <c:v>286</c:v>
                </c:pt>
                <c:pt idx="46">
                  <c:v>327</c:v>
                </c:pt>
                <c:pt idx="47">
                  <c:v>343</c:v>
                </c:pt>
                <c:pt idx="48">
                  <c:v>370</c:v>
                </c:pt>
                <c:pt idx="49">
                  <c:v>420</c:v>
                </c:pt>
                <c:pt idx="50">
                  <c:v>430</c:v>
                </c:pt>
                <c:pt idx="51">
                  <c:v>445</c:v>
                </c:pt>
                <c:pt idx="52">
                  <c:v>482</c:v>
                </c:pt>
                <c:pt idx="53">
                  <c:v>507</c:v>
                </c:pt>
                <c:pt idx="54">
                  <c:v>546</c:v>
                </c:pt>
                <c:pt idx="55">
                  <c:v>564</c:v>
                </c:pt>
                <c:pt idx="56">
                  <c:v>593</c:v>
                </c:pt>
                <c:pt idx="57">
                  <c:v>621</c:v>
                </c:pt>
                <c:pt idx="58">
                  <c:v>636</c:v>
                </c:pt>
                <c:pt idx="59">
                  <c:v>663</c:v>
                </c:pt>
                <c:pt idx="60">
                  <c:v>687</c:v>
                </c:pt>
                <c:pt idx="61">
                  <c:v>717</c:v>
                </c:pt>
                <c:pt idx="62">
                  <c:v>741</c:v>
                </c:pt>
                <c:pt idx="63">
                  <c:v>767</c:v>
                </c:pt>
                <c:pt idx="64">
                  <c:v>779</c:v>
                </c:pt>
                <c:pt idx="65">
                  <c:v>803</c:v>
                </c:pt>
                <c:pt idx="66">
                  <c:v>828</c:v>
                </c:pt>
                <c:pt idx="67">
                  <c:v>856</c:v>
                </c:pt>
                <c:pt idx="68">
                  <c:v>878</c:v>
                </c:pt>
                <c:pt idx="69">
                  <c:v>907</c:v>
                </c:pt>
                <c:pt idx="70">
                  <c:v>924</c:v>
                </c:pt>
                <c:pt idx="71">
                  <c:v>938</c:v>
                </c:pt>
                <c:pt idx="72">
                  <c:v>948</c:v>
                </c:pt>
                <c:pt idx="73">
                  <c:v>976</c:v>
                </c:pt>
                <c:pt idx="74">
                  <c:v>9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96.76125221439744</c:v>
                </c:pt>
                <c:pt idx="43">
                  <c:v>214.88075691944178</c:v>
                </c:pt>
                <c:pt idx="44">
                  <c:v>233.3579600949702</c:v>
                </c:pt>
                <c:pt idx="45">
                  <c:v>252.27072657565526</c:v>
                </c:pt>
                <c:pt idx="46">
                  <c:v>271.6402492317518</c:v>
                </c:pt>
                <c:pt idx="47">
                  <c:v>291.37254837586897</c:v>
                </c:pt>
                <c:pt idx="48">
                  <c:v>311.4724765561042</c:v>
                </c:pt>
                <c:pt idx="49">
                  <c:v>331.87315353833424</c:v>
                </c:pt>
                <c:pt idx="50">
                  <c:v>352.52954909827395</c:v>
                </c:pt>
                <c:pt idx="51">
                  <c:v>373.48495998963011</c:v>
                </c:pt>
                <c:pt idx="52">
                  <c:v>394.68117346256724</c:v>
                </c:pt>
                <c:pt idx="53">
                  <c:v>416.10503106896033</c:v>
                </c:pt>
                <c:pt idx="54">
                  <c:v>437.81545547160721</c:v>
                </c:pt>
                <c:pt idx="55">
                  <c:v>459.73308934295119</c:v>
                </c:pt>
                <c:pt idx="56">
                  <c:v>481.8320107309915</c:v>
                </c:pt>
                <c:pt idx="57">
                  <c:v>504.13125698084798</c:v>
                </c:pt>
                <c:pt idx="58">
                  <c:v>526.59384188282877</c:v>
                </c:pt>
                <c:pt idx="59">
                  <c:v>549.19368167273183</c:v>
                </c:pt>
                <c:pt idx="60">
                  <c:v>571.93769397079166</c:v>
                </c:pt>
                <c:pt idx="61">
                  <c:v>594.81003676716864</c:v>
                </c:pt>
                <c:pt idx="62">
                  <c:v>617.77850015008983</c:v>
                </c:pt>
                <c:pt idx="63">
                  <c:v>640.81866194955705</c:v>
                </c:pt>
                <c:pt idx="64">
                  <c:v>663.92666608577792</c:v>
                </c:pt>
                <c:pt idx="65">
                  <c:v>687.05872189143042</c:v>
                </c:pt>
                <c:pt idx="66">
                  <c:v>710.20275014429603</c:v>
                </c:pt>
                <c:pt idx="67">
                  <c:v>733.37270039684108</c:v>
                </c:pt>
                <c:pt idx="68">
                  <c:v>756.51540463059177</c:v>
                </c:pt>
                <c:pt idx="69">
                  <c:v>779.62057554840374</c:v>
                </c:pt>
                <c:pt idx="70">
                  <c:v>802.6685296241676</c:v>
                </c:pt>
                <c:pt idx="71">
                  <c:v>825.63967800436183</c:v>
                </c:pt>
                <c:pt idx="72">
                  <c:v>848.51496609648041</c:v>
                </c:pt>
                <c:pt idx="73">
                  <c:v>871.27586399878851</c:v>
                </c:pt>
                <c:pt idx="74">
                  <c:v>893.90421404509561</c:v>
                </c:pt>
                <c:pt idx="75">
                  <c:v>916.38224207990925</c:v>
                </c:pt>
                <c:pt idx="76">
                  <c:v>938.69261704509074</c:v>
                </c:pt>
                <c:pt idx="77">
                  <c:v>960.81850457162773</c:v>
                </c:pt>
                <c:pt idx="78">
                  <c:v>982.74366121587877</c:v>
                </c:pt>
                <c:pt idx="79">
                  <c:v>1004.4524875269275</c:v>
                </c:pt>
                <c:pt idx="80">
                  <c:v>1025.9300530984483</c:v>
                </c:pt>
                <c:pt idx="81">
                  <c:v>1047.1621208020033</c:v>
                </c:pt>
                <c:pt idx="82">
                  <c:v>1068.1351646943749</c:v>
                </c:pt>
                <c:pt idx="83">
                  <c:v>1088.8363824373828</c:v>
                </c:pt>
                <c:pt idx="84">
                  <c:v>1109.2537167628152</c:v>
                </c:pt>
                <c:pt idx="85">
                  <c:v>1129.3758739830955</c:v>
                </c:pt>
                <c:pt idx="86">
                  <c:v>1149.1923333450684</c:v>
                </c:pt>
                <c:pt idx="87">
                  <c:v>1168.6933567616647</c:v>
                </c:pt>
                <c:pt idx="88">
                  <c:v>1187.8699964025645</c:v>
                </c:pt>
                <c:pt idx="89">
                  <c:v>1206.7140926065274</c:v>
                </c:pt>
                <c:pt idx="90">
                  <c:v>1225.2182680664737</c:v>
                </c:pt>
                <c:pt idx="91">
                  <c:v>1243.3759262086944</c:v>
                </c:pt>
                <c:pt idx="92">
                  <c:v>1261.1812436305959</c:v>
                </c:pt>
                <c:pt idx="93">
                  <c:v>1278.6291574889258</c:v>
                </c:pt>
                <c:pt idx="94">
                  <c:v>1295.7153549461088</c:v>
                </c:pt>
                <c:pt idx="95">
                  <c:v>1312.4362577811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97.11874734994066</c:v>
                </c:pt>
                <c:pt idx="43">
                  <c:v>215.73886175843853</c:v>
                </c:pt>
                <c:pt idx="44">
                  <c:v>234.87677050776881</c:v>
                </c:pt>
                <c:pt idx="45">
                  <c:v>254.62671463074844</c:v>
                </c:pt>
                <c:pt idx="46">
                  <c:v>275.02571397466954</c:v>
                </c:pt>
                <c:pt idx="47">
                  <c:v>295.9948210205132</c:v>
                </c:pt>
                <c:pt idx="48">
                  <c:v>317.55209304125594</c:v>
                </c:pt>
                <c:pt idx="49">
                  <c:v>339.64249646217536</c:v>
                </c:pt>
                <c:pt idx="50">
                  <c:v>362.23135227059532</c:v>
                </c:pt>
                <c:pt idx="51">
                  <c:v>385.37096964314151</c:v>
                </c:pt>
                <c:pt idx="52">
                  <c:v>409.0112081134572</c:v>
                </c:pt>
                <c:pt idx="53">
                  <c:v>433.14565194767624</c:v>
                </c:pt>
                <c:pt idx="54">
                  <c:v>457.8387384595045</c:v>
                </c:pt>
                <c:pt idx="55">
                  <c:v>483.01548804613248</c:v>
                </c:pt>
                <c:pt idx="56">
                  <c:v>508.65312014779403</c:v>
                </c:pt>
                <c:pt idx="57">
                  <c:v>534.77252038500876</c:v>
                </c:pt>
                <c:pt idx="58">
                  <c:v>561.33746658138978</c:v>
                </c:pt>
                <c:pt idx="59">
                  <c:v>588.32152422709055</c:v>
                </c:pt>
                <c:pt idx="60">
                  <c:v>615.72992169467102</c:v>
                </c:pt>
                <c:pt idx="61">
                  <c:v>643.54382160265459</c:v>
                </c:pt>
                <c:pt idx="62">
                  <c:v>671.72681789335502</c:v>
                </c:pt>
                <c:pt idx="63">
                  <c:v>700.24900796774295</c:v>
                </c:pt>
                <c:pt idx="64">
                  <c:v>729.09981843698267</c:v>
                </c:pt>
                <c:pt idx="65">
                  <c:v>758.22796644395396</c:v>
                </c:pt>
                <c:pt idx="66">
                  <c:v>787.61299786184804</c:v>
                </c:pt>
                <c:pt idx="67">
                  <c:v>817.25925472681593</c:v>
                </c:pt>
                <c:pt idx="68">
                  <c:v>847.10297858017952</c:v>
                </c:pt>
                <c:pt idx="69">
                  <c:v>877.12222749888781</c:v>
                </c:pt>
                <c:pt idx="70">
                  <c:v>907.28475490189601</c:v>
                </c:pt>
                <c:pt idx="71">
                  <c:v>937.55759779418258</c:v>
                </c:pt>
                <c:pt idx="72">
                  <c:v>967.90775042818211</c:v>
                </c:pt>
                <c:pt idx="73">
                  <c:v>998.30221208642547</c:v>
                </c:pt>
                <c:pt idx="74">
                  <c:v>1028.7078382990767</c:v>
                </c:pt>
                <c:pt idx="75">
                  <c:v>1059.0914258442492</c:v>
                </c:pt>
                <c:pt idx="76">
                  <c:v>1089.4198670988753</c:v>
                </c:pt>
                <c:pt idx="77">
                  <c:v>1119.6602964814397</c:v>
                </c:pt>
                <c:pt idx="78">
                  <c:v>1149.780296482033</c:v>
                </c:pt>
                <c:pt idx="79">
                  <c:v>1179.7480460697589</c:v>
                </c:pt>
                <c:pt idx="80">
                  <c:v>1209.5324294125614</c:v>
                </c:pt>
                <c:pt idx="81">
                  <c:v>1239.1031422906192</c:v>
                </c:pt>
                <c:pt idx="82">
                  <c:v>1268.4307887168882</c:v>
                </c:pt>
                <c:pt idx="83">
                  <c:v>1297.4869678790619</c:v>
                </c:pt>
                <c:pt idx="84">
                  <c:v>1326.2443699333619</c:v>
                </c:pt>
                <c:pt idx="85">
                  <c:v>1354.6768643623736</c:v>
                </c:pt>
                <c:pt idx="86">
                  <c:v>1382.7595721026453</c:v>
                </c:pt>
                <c:pt idx="87">
                  <c:v>1410.4689334601587</c:v>
                </c:pt>
                <c:pt idx="88">
                  <c:v>1437.7827686732301</c:v>
                </c:pt>
                <c:pt idx="89">
                  <c:v>1464.6803204120945</c:v>
                </c:pt>
                <c:pt idx="90">
                  <c:v>1491.142285782407</c:v>
                </c:pt>
                <c:pt idx="91">
                  <c:v>1517.150849038891</c:v>
                </c:pt>
                <c:pt idx="92">
                  <c:v>1542.6897008632131</c:v>
                </c:pt>
                <c:pt idx="93">
                  <c:v>1567.7440455655017</c:v>
                </c:pt>
                <c:pt idx="94">
                  <c:v>1592.3006059969041</c:v>
                </c:pt>
                <c:pt idx="95">
                  <c:v>1616.3476170722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97.47853398854539</c:v>
                </c:pt>
                <c:pt idx="43">
                  <c:v>216.60522457855038</c:v>
                </c:pt>
                <c:pt idx="44">
                  <c:v>236.4159265780074</c:v>
                </c:pt>
                <c:pt idx="45">
                  <c:v>257.02418743029227</c:v>
                </c:pt>
                <c:pt idx="46">
                  <c:v>278.48621600789897</c:v>
                </c:pt>
                <c:pt idx="47">
                  <c:v>300.74185068326091</c:v>
                </c:pt>
                <c:pt idx="48">
                  <c:v>323.82645966877971</c:v>
                </c:pt>
                <c:pt idx="49">
                  <c:v>347.70126761300435</c:v>
                </c:pt>
                <c:pt idx="50">
                  <c:v>372.34659654144662</c:v>
                </c:pt>
                <c:pt idx="51">
                  <c:v>397.82859923136004</c:v>
                </c:pt>
                <c:pt idx="52">
                  <c:v>424.11014703778517</c:v>
                </c:pt>
                <c:pt idx="53">
                  <c:v>451.19652152472156</c:v>
                </c:pt>
                <c:pt idx="54">
                  <c:v>479.16256990301139</c:v>
                </c:pt>
                <c:pt idx="55">
                  <c:v>507.94244235845798</c:v>
                </c:pt>
                <c:pt idx="56">
                  <c:v>537.52105413944719</c:v>
                </c:pt>
                <c:pt idx="57">
                  <c:v>567.92539461269917</c:v>
                </c:pt>
                <c:pt idx="58">
                  <c:v>599.12391388747358</c:v>
                </c:pt>
                <c:pt idx="59">
                  <c:v>631.09331337154435</c:v>
                </c:pt>
                <c:pt idx="60">
                  <c:v>663.84007782873903</c:v>
                </c:pt>
                <c:pt idx="61">
                  <c:v>697.3447157248529</c:v>
                </c:pt>
                <c:pt idx="62">
                  <c:v>731.56829197274567</c:v>
                </c:pt>
                <c:pt idx="63">
                  <c:v>766.47637997832624</c:v>
                </c:pt>
                <c:pt idx="64">
                  <c:v>802.05188798454492</c:v>
                </c:pt>
                <c:pt idx="65">
                  <c:v>838.23552059009535</c:v>
                </c:pt>
                <c:pt idx="66">
                  <c:v>874.99718303376449</c:v>
                </c:pt>
                <c:pt idx="67">
                  <c:v>912.32949073497173</c:v>
                </c:pt>
                <c:pt idx="68">
                  <c:v>950.15513999329505</c:v>
                </c:pt>
                <c:pt idx="69">
                  <c:v>988.43675656013488</c:v>
                </c:pt>
                <c:pt idx="70">
                  <c:v>1027.124966233886</c:v>
                </c:pt>
                <c:pt idx="71">
                  <c:v>1066.1681173898241</c:v>
                </c:pt>
                <c:pt idx="72">
                  <c:v>1105.5132688779318</c:v>
                </c:pt>
                <c:pt idx="73">
                  <c:v>1145.1063444665947</c:v>
                </c:pt>
                <c:pt idx="74">
                  <c:v>1184.8920341128562</c:v>
                </c:pt>
                <c:pt idx="75">
                  <c:v>1224.8140234446689</c:v>
                </c:pt>
                <c:pt idx="76">
                  <c:v>1264.8153251651663</c:v>
                </c:pt>
                <c:pt idx="77">
                  <c:v>1304.8386053134509</c:v>
                </c:pt>
                <c:pt idx="78">
                  <c:v>1344.8265964550528</c:v>
                </c:pt>
                <c:pt idx="79">
                  <c:v>1384.7224355263693</c:v>
                </c:pt>
                <c:pt idx="80">
                  <c:v>1424.4699492130226</c:v>
                </c:pt>
                <c:pt idx="81">
                  <c:v>1464.0139351879805</c:v>
                </c:pt>
                <c:pt idx="82">
                  <c:v>1503.3004279617421</c:v>
                </c:pt>
                <c:pt idx="83">
                  <c:v>1542.2769472988623</c:v>
                </c:pt>
                <c:pt idx="84">
                  <c:v>1580.8927514234863</c:v>
                </c:pt>
                <c:pt idx="85">
                  <c:v>1619.0990724646404</c:v>
                </c:pt>
                <c:pt idx="86">
                  <c:v>1656.8493213398137</c:v>
                </c:pt>
                <c:pt idx="87">
                  <c:v>1694.0992762908245</c:v>
                </c:pt>
                <c:pt idx="88">
                  <c:v>1730.8072506813783</c:v>
                </c:pt>
                <c:pt idx="89">
                  <c:v>1766.9342250142643</c:v>
                </c:pt>
                <c:pt idx="90">
                  <c:v>1802.4439524373588</c:v>
                </c:pt>
                <c:pt idx="91">
                  <c:v>1837.3030529344605</c:v>
                </c:pt>
                <c:pt idx="92">
                  <c:v>1871.4810771916439</c:v>
                </c:pt>
                <c:pt idx="93">
                  <c:v>1904.9505423081844</c:v>
                </c:pt>
                <c:pt idx="94">
                  <c:v>1937.6869527608094</c:v>
                </c:pt>
                <c:pt idx="95">
                  <c:v>1969.6687952591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7</c:v>
                </c:pt>
                <c:pt idx="4">
                  <c:v>29</c:v>
                </c:pt>
                <c:pt idx="5">
                  <c:v>30</c:v>
                </c:pt>
                <c:pt idx="6">
                  <c:v>31</c:v>
                </c:pt>
                <c:pt idx="7">
                  <c:v>35</c:v>
                </c:pt>
                <c:pt idx="8">
                  <c:v>36</c:v>
                </c:pt>
                <c:pt idx="9">
                  <c:v>36</c:v>
                </c:pt>
                <c:pt idx="10">
                  <c:v>37</c:v>
                </c:pt>
                <c:pt idx="11">
                  <c:v>40</c:v>
                </c:pt>
                <c:pt idx="12">
                  <c:v>42</c:v>
                </c:pt>
                <c:pt idx="13">
                  <c:v>43</c:v>
                </c:pt>
                <c:pt idx="14">
                  <c:v>48</c:v>
                </c:pt>
                <c:pt idx="15">
                  <c:v>51</c:v>
                </c:pt>
                <c:pt idx="16">
                  <c:v>52</c:v>
                </c:pt>
                <c:pt idx="17">
                  <c:v>60</c:v>
                </c:pt>
                <c:pt idx="18">
                  <c:v>65</c:v>
                </c:pt>
                <c:pt idx="19">
                  <c:v>73</c:v>
                </c:pt>
                <c:pt idx="20">
                  <c:v>83</c:v>
                </c:pt>
                <c:pt idx="21">
                  <c:v>98</c:v>
                </c:pt>
                <c:pt idx="22">
                  <c:v>100</c:v>
                </c:pt>
                <c:pt idx="23">
                  <c:v>103</c:v>
                </c:pt>
                <c:pt idx="24">
                  <c:v>136</c:v>
                </c:pt>
                <c:pt idx="25">
                  <c:v>148</c:v>
                </c:pt>
                <c:pt idx="26">
                  <c:v>158</c:v>
                </c:pt>
                <c:pt idx="27">
                  <c:v>163</c:v>
                </c:pt>
                <c:pt idx="28">
                  <c:v>177</c:v>
                </c:pt>
                <c:pt idx="29">
                  <c:v>183</c:v>
                </c:pt>
                <c:pt idx="30">
                  <c:v>189</c:v>
                </c:pt>
                <c:pt idx="31">
                  <c:v>205</c:v>
                </c:pt>
                <c:pt idx="32">
                  <c:v>217</c:v>
                </c:pt>
                <c:pt idx="33">
                  <c:v>233</c:v>
                </c:pt>
                <c:pt idx="34">
                  <c:v>249</c:v>
                </c:pt>
                <c:pt idx="35">
                  <c:v>268</c:v>
                </c:pt>
                <c:pt idx="36">
                  <c:v>282</c:v>
                </c:pt>
                <c:pt idx="37">
                  <c:v>289</c:v>
                </c:pt>
                <c:pt idx="38">
                  <c:v>319</c:v>
                </c:pt>
                <c:pt idx="39">
                  <c:v>352</c:v>
                </c:pt>
                <c:pt idx="40">
                  <c:v>378</c:v>
                </c:pt>
                <c:pt idx="41">
                  <c:v>393</c:v>
                </c:pt>
                <c:pt idx="42">
                  <c:v>422</c:v>
                </c:pt>
                <c:pt idx="43">
                  <c:v>438</c:v>
                </c:pt>
                <c:pt idx="44">
                  <c:v>450</c:v>
                </c:pt>
                <c:pt idx="45">
                  <c:v>488</c:v>
                </c:pt>
                <c:pt idx="46">
                  <c:v>523</c:v>
                </c:pt>
                <c:pt idx="47">
                  <c:v>536</c:v>
                </c:pt>
                <c:pt idx="48">
                  <c:v>572</c:v>
                </c:pt>
                <c:pt idx="49">
                  <c:v>626</c:v>
                </c:pt>
                <c:pt idx="50">
                  <c:v>648</c:v>
                </c:pt>
                <c:pt idx="51">
                  <c:v>661</c:v>
                </c:pt>
                <c:pt idx="52">
                  <c:v>716</c:v>
                </c:pt>
                <c:pt idx="53">
                  <c:v>764</c:v>
                </c:pt>
                <c:pt idx="54">
                  <c:v>822</c:v>
                </c:pt>
                <c:pt idx="55">
                  <c:v>862</c:v>
                </c:pt>
                <c:pt idx="56">
                  <c:v>920</c:v>
                </c:pt>
                <c:pt idx="57">
                  <c:v>949</c:v>
                </c:pt>
                <c:pt idx="58">
                  <c:v>986</c:v>
                </c:pt>
                <c:pt idx="59">
                  <c:v>1036</c:v>
                </c:pt>
                <c:pt idx="60">
                  <c:v>1074</c:v>
                </c:pt>
                <c:pt idx="61">
                  <c:v>1101</c:v>
                </c:pt>
                <c:pt idx="62">
                  <c:v>1141</c:v>
                </c:pt>
                <c:pt idx="63">
                  <c:v>1165</c:v>
                </c:pt>
                <c:pt idx="64">
                  <c:v>1191</c:v>
                </c:pt>
                <c:pt idx="65">
                  <c:v>1212</c:v>
                </c:pt>
                <c:pt idx="66">
                  <c:v>1255</c:v>
                </c:pt>
                <c:pt idx="67">
                  <c:v>1293</c:v>
                </c:pt>
                <c:pt idx="68">
                  <c:v>1320</c:v>
                </c:pt>
                <c:pt idx="69">
                  <c:v>1344</c:v>
                </c:pt>
                <c:pt idx="70">
                  <c:v>1380</c:v>
                </c:pt>
                <c:pt idx="71">
                  <c:v>1399</c:v>
                </c:pt>
                <c:pt idx="72">
                  <c:v>1412</c:v>
                </c:pt>
                <c:pt idx="73">
                  <c:v>1448</c:v>
                </c:pt>
                <c:pt idx="74">
                  <c:v>1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15.61047256474444</c:v>
                </c:pt>
                <c:pt idx="43">
                  <c:v>438.68903551021714</c:v>
                </c:pt>
                <c:pt idx="44">
                  <c:v>462.24506270075898</c:v>
                </c:pt>
                <c:pt idx="45">
                  <c:v>486.37837694239732</c:v>
                </c:pt>
                <c:pt idx="46">
                  <c:v>511.11627704726993</c:v>
                </c:pt>
                <c:pt idx="47">
                  <c:v>536.32834987994954</c:v>
                </c:pt>
                <c:pt idx="48">
                  <c:v>562.01479476154555</c:v>
                </c:pt>
                <c:pt idx="49">
                  <c:v>588.08035271937422</c:v>
                </c:pt>
                <c:pt idx="50">
                  <c:v>614.47572992332005</c:v>
                </c:pt>
                <c:pt idx="51">
                  <c:v>641.25659599817095</c:v>
                </c:pt>
                <c:pt idx="52">
                  <c:v>668.34009887069169</c:v>
                </c:pt>
                <c:pt idx="53">
                  <c:v>695.71321301360672</c:v>
                </c:pt>
                <c:pt idx="54">
                  <c:v>723.44742138174809</c:v>
                </c:pt>
                <c:pt idx="55">
                  <c:v>751.44192628177723</c:v>
                </c:pt>
                <c:pt idx="56">
                  <c:v>779.66307770432365</c:v>
                </c:pt>
                <c:pt idx="57">
                  <c:v>808.13564850588727</c:v>
                </c:pt>
                <c:pt idx="58">
                  <c:v>836.81380818340722</c:v>
                </c:pt>
                <c:pt idx="59">
                  <c:v>865.65983168491152</c:v>
                </c:pt>
                <c:pt idx="60">
                  <c:v>894.67938043872073</c:v>
                </c:pt>
                <c:pt idx="61">
                  <c:v>923.86056733892053</c:v>
                </c:pt>
                <c:pt idx="62">
                  <c:v>953.15737339093039</c:v>
                </c:pt>
                <c:pt idx="63">
                  <c:v>982.53887042810845</c:v>
                </c:pt>
                <c:pt idx="64">
                  <c:v>1012.0035064128425</c:v>
                </c:pt>
                <c:pt idx="65">
                  <c:v>1041.4956593009317</c:v>
                </c:pt>
                <c:pt idx="66">
                  <c:v>1070.99837587299</c:v>
                </c:pt>
                <c:pt idx="67">
                  <c:v>1100.5249147872757</c:v>
                </c:pt>
                <c:pt idx="68">
                  <c:v>1130.0121141327356</c:v>
                </c:pt>
                <c:pt idx="69">
                  <c:v>1159.4456255624877</c:v>
                </c:pt>
                <c:pt idx="70">
                  <c:v>1188.8004191980112</c:v>
                </c:pt>
                <c:pt idx="71">
                  <c:v>1218.0515812200856</c:v>
                </c:pt>
                <c:pt idx="72">
                  <c:v>1247.1748894879888</c:v>
                </c:pt>
                <c:pt idx="73">
                  <c:v>1276.1468062091822</c:v>
                </c:pt>
                <c:pt idx="74">
                  <c:v>1304.9442872206419</c:v>
                </c:pt>
                <c:pt idx="75">
                  <c:v>1333.544794374787</c:v>
                </c:pt>
                <c:pt idx="76">
                  <c:v>1361.9263712072618</c:v>
                </c:pt>
                <c:pt idx="77">
                  <c:v>1390.0677106679805</c:v>
                </c:pt>
                <c:pt idx="78">
                  <c:v>1417.9482704784036</c:v>
                </c:pt>
                <c:pt idx="79">
                  <c:v>1445.5483410427837</c:v>
                </c:pt>
                <c:pt idx="80">
                  <c:v>1472.8490767632943</c:v>
                </c:pt>
                <c:pt idx="81">
                  <c:v>1499.8325265617855</c:v>
                </c:pt>
                <c:pt idx="82">
                  <c:v>1526.4816551077652</c:v>
                </c:pt>
                <c:pt idx="83">
                  <c:v>1552.7803569201672</c:v>
                </c:pt>
                <c:pt idx="84">
                  <c:v>1578.7134835599852</c:v>
                </c:pt>
                <c:pt idx="85">
                  <c:v>1604.2668658976306</c:v>
                </c:pt>
                <c:pt idx="86">
                  <c:v>1629.4273240765074</c:v>
                </c:pt>
                <c:pt idx="87">
                  <c:v>1654.1826788728324</c:v>
                </c:pt>
                <c:pt idx="88">
                  <c:v>1678.5217610989428</c:v>
                </c:pt>
                <c:pt idx="89">
                  <c:v>1702.4344080112396</c:v>
                </c:pt>
                <c:pt idx="90">
                  <c:v>1725.9114539436878</c:v>
                </c:pt>
                <c:pt idx="91">
                  <c:v>1748.9447283849101</c:v>
                </c:pt>
                <c:pt idx="92">
                  <c:v>1771.5270450299927</c:v>
                </c:pt>
                <c:pt idx="93">
                  <c:v>1793.6521841985932</c:v>
                </c:pt>
                <c:pt idx="94">
                  <c:v>1815.3148783798981</c:v>
                </c:pt>
                <c:pt idx="95">
                  <c:v>1836.5107923210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16.07376351570389</c:v>
                </c:pt>
                <c:pt idx="43">
                  <c:v>439.80111271664305</c:v>
                </c:pt>
                <c:pt idx="44">
                  <c:v>464.21332582898083</c:v>
                </c:pt>
                <c:pt idx="45">
                  <c:v>489.43133751079267</c:v>
                </c:pt>
                <c:pt idx="46">
                  <c:v>515.50283068906685</c:v>
                </c:pt>
                <c:pt idx="47">
                  <c:v>542.31667634217411</c:v>
                </c:pt>
                <c:pt idx="48">
                  <c:v>569.88980749180041</c:v>
                </c:pt>
                <c:pt idx="49">
                  <c:v>598.1418677450481</c:v>
                </c:pt>
                <c:pt idx="50">
                  <c:v>627.03643819730212</c:v>
                </c:pt>
                <c:pt idx="51">
                  <c:v>656.64031193048982</c:v>
                </c:pt>
                <c:pt idx="52">
                  <c:v>686.88057869048157</c:v>
                </c:pt>
                <c:pt idx="53">
                  <c:v>717.7523919254603</c:v>
                </c:pt>
                <c:pt idx="54">
                  <c:v>749.33386749735882</c:v>
                </c:pt>
                <c:pt idx="55">
                  <c:v>781.52936206101708</c:v>
                </c:pt>
                <c:pt idx="56">
                  <c:v>814.30879230699327</c:v>
                </c:pt>
                <c:pt idx="57">
                  <c:v>847.69885833914122</c:v>
                </c:pt>
                <c:pt idx="58">
                  <c:v>881.65429339993784</c:v>
                </c:pt>
                <c:pt idx="59">
                  <c:v>916.13652030930314</c:v>
                </c:pt>
                <c:pt idx="60">
                  <c:v>951.14864854846144</c:v>
                </c:pt>
                <c:pt idx="61">
                  <c:v>986.67458564501385</c:v>
                </c:pt>
                <c:pt idx="62">
                  <c:v>1022.6626251111887</c:v>
                </c:pt>
                <c:pt idx="63">
                  <c:v>1059.0745067789783</c:v>
                </c:pt>
                <c:pt idx="64">
                  <c:v>1095.8997626106793</c:v>
                </c:pt>
                <c:pt idx="65">
                  <c:v>1133.0729054688454</c:v>
                </c:pt>
                <c:pt idx="66">
                  <c:v>1170.5659982065436</c:v>
                </c:pt>
                <c:pt idx="67">
                  <c:v>1208.3797607262704</c:v>
                </c:pt>
                <c:pt idx="68">
                  <c:v>1246.4372483996885</c:v>
                </c:pt>
                <c:pt idx="69">
                  <c:v>1284.7090038006409</c:v>
                </c:pt>
                <c:pt idx="70">
                  <c:v>1323.1537545105043</c:v>
                </c:pt>
                <c:pt idx="71">
                  <c:v>1361.7293254819565</c:v>
                </c:pt>
                <c:pt idx="72">
                  <c:v>1400.3935210673253</c:v>
                </c:pt>
                <c:pt idx="73">
                  <c:v>1439.1041936058923</c:v>
                </c:pt>
                <c:pt idx="74">
                  <c:v>1477.8190592697215</c:v>
                </c:pt>
                <c:pt idx="75">
                  <c:v>1516.4958043820684</c:v>
                </c:pt>
                <c:pt idx="76">
                  <c:v>1555.092282439535</c:v>
                </c:pt>
                <c:pt idx="77">
                  <c:v>1593.5667003747933</c:v>
                </c:pt>
                <c:pt idx="78">
                  <c:v>1631.8778745704944</c:v>
                </c:pt>
                <c:pt idx="79">
                  <c:v>1669.9854205881898</c:v>
                </c:pt>
                <c:pt idx="80">
                  <c:v>1707.8498908572381</c:v>
                </c:pt>
                <c:pt idx="81">
                  <c:v>1745.4329093389015</c:v>
                </c:pt>
                <c:pt idx="82">
                  <c:v>1782.6972918355546</c:v>
                </c:pt>
                <c:pt idx="83">
                  <c:v>1819.6071537465409</c:v>
                </c:pt>
                <c:pt idx="84">
                  <c:v>1856.1280309496769</c:v>
                </c:pt>
                <c:pt idx="85">
                  <c:v>1892.2269895941035</c:v>
                </c:pt>
                <c:pt idx="86">
                  <c:v>1927.8727141082486</c:v>
                </c:pt>
                <c:pt idx="87">
                  <c:v>1963.0355910171806</c:v>
                </c:pt>
                <c:pt idx="88">
                  <c:v>1997.68778431896</c:v>
                </c:pt>
                <c:pt idx="89">
                  <c:v>2031.8032868351577</c:v>
                </c:pt>
                <c:pt idx="90">
                  <c:v>2065.3579567719917</c:v>
                </c:pt>
                <c:pt idx="91">
                  <c:v>2098.3295580353074</c:v>
                </c:pt>
                <c:pt idx="92">
                  <c:v>2130.6977814166312</c:v>
                </c:pt>
                <c:pt idx="93">
                  <c:v>2162.4442501079893</c:v>
                </c:pt>
                <c:pt idx="94">
                  <c:v>2193.5525230206927</c:v>
                </c:pt>
                <c:pt idx="95">
                  <c:v>2224.00808459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16.54000962825438</c:v>
                </c:pt>
                <c:pt idx="43">
                  <c:v>440.92385532416586</c:v>
                </c:pt>
                <c:pt idx="44">
                  <c:v>466.20788822216571</c:v>
                </c:pt>
                <c:pt idx="45">
                  <c:v>492.5379467083859</c:v>
                </c:pt>
                <c:pt idx="46">
                  <c:v>519.98644269087117</c:v>
                </c:pt>
                <c:pt idx="47">
                  <c:v>548.46637528381075</c:v>
                </c:pt>
                <c:pt idx="48">
                  <c:v>578.01670245926027</c:v>
                </c:pt>
                <c:pt idx="49">
                  <c:v>608.5776462593841</c:v>
                </c:pt>
                <c:pt idx="50">
                  <c:v>640.13163261553689</c:v>
                </c:pt>
                <c:pt idx="51">
                  <c:v>672.76276646361941</c:v>
                </c:pt>
                <c:pt idx="52">
                  <c:v>706.41438996499141</c:v>
                </c:pt>
                <c:pt idx="53">
                  <c:v>741.09614637244567</c:v>
                </c:pt>
                <c:pt idx="54">
                  <c:v>776.89899965645282</c:v>
                </c:pt>
                <c:pt idx="55">
                  <c:v>813.73847171330669</c:v>
                </c:pt>
                <c:pt idx="56">
                  <c:v>851.59378460451876</c:v>
                </c:pt>
                <c:pt idx="57">
                  <c:v>890.49890035975352</c:v>
                </c:pt>
                <c:pt idx="58">
                  <c:v>930.41398769184525</c:v>
                </c:pt>
                <c:pt idx="59">
                  <c:v>971.30393250492421</c:v>
                </c:pt>
                <c:pt idx="60">
                  <c:v>1013.1728990070404</c:v>
                </c:pt>
                <c:pt idx="61">
                  <c:v>1056.0034088281859</c:v>
                </c:pt>
                <c:pt idx="62">
                  <c:v>1099.7400129257182</c:v>
                </c:pt>
                <c:pt idx="63">
                  <c:v>1144.3381451063985</c:v>
                </c:pt>
                <c:pt idx="64">
                  <c:v>1189.7784693947483</c:v>
                </c:pt>
                <c:pt idx="65">
                  <c:v>1235.9847581096153</c:v>
                </c:pt>
                <c:pt idx="66">
                  <c:v>1282.9162622986521</c:v>
                </c:pt>
                <c:pt idx="67">
                  <c:v>1330.5582487894944</c:v>
                </c:pt>
                <c:pt idx="68">
                  <c:v>1378.8160156531599</c:v>
                </c:pt>
                <c:pt idx="69">
                  <c:v>1427.6399802770002</c:v>
                </c:pt>
                <c:pt idx="70">
                  <c:v>1476.9666183450454</c:v>
                </c:pt>
                <c:pt idx="71">
                  <c:v>1526.7295392107753</c:v>
                </c:pt>
                <c:pt idx="72">
                  <c:v>1576.8607810493484</c:v>
                </c:pt>
                <c:pt idx="73">
                  <c:v>1627.2910215627469</c:v>
                </c:pt>
                <c:pt idx="74">
                  <c:v>1677.9494624863219</c:v>
                </c:pt>
                <c:pt idx="75">
                  <c:v>1728.7641221458323</c:v>
                </c:pt>
                <c:pt idx="76">
                  <c:v>1779.6622606174838</c:v>
                </c:pt>
                <c:pt idx="77">
                  <c:v>1830.5707968031827</c:v>
                </c:pt>
                <c:pt idx="78">
                  <c:v>1881.4168273084833</c:v>
                </c:pt>
                <c:pt idx="79">
                  <c:v>1932.1280585762004</c:v>
                </c:pt>
                <c:pt idx="80">
                  <c:v>1982.6331696632269</c:v>
                </c:pt>
                <c:pt idx="81">
                  <c:v>2032.8621688328051</c:v>
                </c:pt>
                <c:pt idx="82">
                  <c:v>2082.7467274678811</c:v>
                </c:pt>
                <c:pt idx="83">
                  <c:v>2132.2204910880155</c:v>
                </c:pt>
                <c:pt idx="84">
                  <c:v>2181.2193982917233</c:v>
                </c:pt>
                <c:pt idx="85">
                  <c:v>2229.6819745948287</c:v>
                </c:pt>
                <c:pt idx="86">
                  <c:v>2277.5495853764905</c:v>
                </c:pt>
                <c:pt idx="87">
                  <c:v>2324.7666692676858</c:v>
                </c:pt>
                <c:pt idx="88">
                  <c:v>2371.2809460565222</c:v>
                </c:pt>
                <c:pt idx="89">
                  <c:v>2417.0435774397506</c:v>
                </c:pt>
                <c:pt idx="90">
                  <c:v>2462.0092920275943</c:v>
                </c:pt>
                <c:pt idx="91">
                  <c:v>2506.1364996710627</c:v>
                </c:pt>
                <c:pt idx="92">
                  <c:v>2549.3873644783221</c:v>
                </c:pt>
                <c:pt idx="93">
                  <c:v>2591.7278416325512</c:v>
                </c:pt>
                <c:pt idx="94">
                  <c:v>2633.1276965061411</c:v>
                </c:pt>
                <c:pt idx="95">
                  <c:v>2673.5604920108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40</c:v>
                </c:pt>
                <c:pt idx="4">
                  <c:v>41</c:v>
                </c:pt>
                <c:pt idx="5">
                  <c:v>41</c:v>
                </c:pt>
                <c:pt idx="6">
                  <c:v>43</c:v>
                </c:pt>
                <c:pt idx="7">
                  <c:v>44</c:v>
                </c:pt>
                <c:pt idx="8">
                  <c:v>45</c:v>
                </c:pt>
                <c:pt idx="9">
                  <c:v>45</c:v>
                </c:pt>
                <c:pt idx="10">
                  <c:v>48</c:v>
                </c:pt>
                <c:pt idx="11">
                  <c:v>52</c:v>
                </c:pt>
                <c:pt idx="12">
                  <c:v>53</c:v>
                </c:pt>
                <c:pt idx="13">
                  <c:v>55</c:v>
                </c:pt>
                <c:pt idx="14">
                  <c:v>57</c:v>
                </c:pt>
                <c:pt idx="15">
                  <c:v>59</c:v>
                </c:pt>
                <c:pt idx="16">
                  <c:v>59</c:v>
                </c:pt>
                <c:pt idx="17">
                  <c:v>61</c:v>
                </c:pt>
                <c:pt idx="18">
                  <c:v>64</c:v>
                </c:pt>
                <c:pt idx="19">
                  <c:v>66</c:v>
                </c:pt>
                <c:pt idx="20">
                  <c:v>73</c:v>
                </c:pt>
                <c:pt idx="21">
                  <c:v>84</c:v>
                </c:pt>
                <c:pt idx="22">
                  <c:v>89</c:v>
                </c:pt>
                <c:pt idx="23">
                  <c:v>90</c:v>
                </c:pt>
                <c:pt idx="24">
                  <c:v>97</c:v>
                </c:pt>
                <c:pt idx="25">
                  <c:v>112</c:v>
                </c:pt>
                <c:pt idx="26">
                  <c:v>121</c:v>
                </c:pt>
                <c:pt idx="27">
                  <c:v>136</c:v>
                </c:pt>
                <c:pt idx="28">
                  <c:v>157</c:v>
                </c:pt>
                <c:pt idx="29">
                  <c:v>162</c:v>
                </c:pt>
                <c:pt idx="30">
                  <c:v>168</c:v>
                </c:pt>
                <c:pt idx="31">
                  <c:v>181</c:v>
                </c:pt>
                <c:pt idx="32">
                  <c:v>187</c:v>
                </c:pt>
                <c:pt idx="33">
                  <c:v>209</c:v>
                </c:pt>
                <c:pt idx="34">
                  <c:v>224</c:v>
                </c:pt>
                <c:pt idx="35">
                  <c:v>240</c:v>
                </c:pt>
                <c:pt idx="36">
                  <c:v>251</c:v>
                </c:pt>
                <c:pt idx="37">
                  <c:v>262</c:v>
                </c:pt>
                <c:pt idx="38">
                  <c:v>283</c:v>
                </c:pt>
                <c:pt idx="39">
                  <c:v>304</c:v>
                </c:pt>
                <c:pt idx="40">
                  <c:v>322</c:v>
                </c:pt>
                <c:pt idx="41">
                  <c:v>350</c:v>
                </c:pt>
                <c:pt idx="42">
                  <c:v>376</c:v>
                </c:pt>
                <c:pt idx="43">
                  <c:v>415</c:v>
                </c:pt>
                <c:pt idx="44">
                  <c:v>437</c:v>
                </c:pt>
                <c:pt idx="45">
                  <c:v>464</c:v>
                </c:pt>
                <c:pt idx="46">
                  <c:v>488</c:v>
                </c:pt>
                <c:pt idx="47">
                  <c:v>498</c:v>
                </c:pt>
                <c:pt idx="48">
                  <c:v>527</c:v>
                </c:pt>
                <c:pt idx="49">
                  <c:v>563</c:v>
                </c:pt>
                <c:pt idx="50">
                  <c:v>586</c:v>
                </c:pt>
                <c:pt idx="51">
                  <c:v>605</c:v>
                </c:pt>
                <c:pt idx="52">
                  <c:v>654</c:v>
                </c:pt>
                <c:pt idx="53">
                  <c:v>679</c:v>
                </c:pt>
                <c:pt idx="54">
                  <c:v>709</c:v>
                </c:pt>
                <c:pt idx="55">
                  <c:v>739</c:v>
                </c:pt>
                <c:pt idx="56">
                  <c:v>774</c:v>
                </c:pt>
                <c:pt idx="57">
                  <c:v>796</c:v>
                </c:pt>
                <c:pt idx="58">
                  <c:v>821</c:v>
                </c:pt>
                <c:pt idx="59">
                  <c:v>848</c:v>
                </c:pt>
                <c:pt idx="60">
                  <c:v>880</c:v>
                </c:pt>
                <c:pt idx="61">
                  <c:v>912</c:v>
                </c:pt>
                <c:pt idx="62">
                  <c:v>942</c:v>
                </c:pt>
                <c:pt idx="63">
                  <c:v>980</c:v>
                </c:pt>
                <c:pt idx="64">
                  <c:v>993</c:v>
                </c:pt>
                <c:pt idx="65">
                  <c:v>1014</c:v>
                </c:pt>
                <c:pt idx="66">
                  <c:v>1062</c:v>
                </c:pt>
                <c:pt idx="67">
                  <c:v>1094</c:v>
                </c:pt>
                <c:pt idx="68">
                  <c:v>1119</c:v>
                </c:pt>
                <c:pt idx="69">
                  <c:v>1146</c:v>
                </c:pt>
                <c:pt idx="70">
                  <c:v>1191</c:v>
                </c:pt>
                <c:pt idx="71">
                  <c:v>1221</c:v>
                </c:pt>
                <c:pt idx="72">
                  <c:v>1236</c:v>
                </c:pt>
                <c:pt idx="73">
                  <c:v>1268</c:v>
                </c:pt>
                <c:pt idx="74">
                  <c:v>1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5.0974643398514</c:v>
                </c:pt>
                <c:pt idx="43">
                  <c:v>381.53722261579992</c:v>
                </c:pt>
                <c:pt idx="44">
                  <c:v>398.33352302951897</c:v>
                </c:pt>
                <c:pt idx="45">
                  <c:v>415.55795954975235</c:v>
                </c:pt>
                <c:pt idx="46">
                  <c:v>433.2302078316269</c:v>
                </c:pt>
                <c:pt idx="47">
                  <c:v>451.24932324339591</c:v>
                </c:pt>
                <c:pt idx="48">
                  <c:v>469.61095514665851</c:v>
                </c:pt>
                <c:pt idx="49">
                  <c:v>488.23967976881045</c:v>
                </c:pt>
                <c:pt idx="50">
                  <c:v>507.10643756143872</c:v>
                </c:pt>
                <c:pt idx="51">
                  <c:v>526.25127710599702</c:v>
                </c:pt>
                <c:pt idx="52">
                  <c:v>545.6086394994893</c:v>
                </c:pt>
                <c:pt idx="53">
                  <c:v>565.1720509559251</c:v>
                </c:pt>
                <c:pt idx="54">
                  <c:v>584.98975308257513</c:v>
                </c:pt>
                <c:pt idx="55">
                  <c:v>604.99015304969657</c:v>
                </c:pt>
                <c:pt idx="56">
                  <c:v>625.14880475968948</c:v>
                </c:pt>
                <c:pt idx="57">
                  <c:v>645.4837494053204</c:v>
                </c:pt>
                <c:pt idx="58">
                  <c:v>665.96330029765443</c:v>
                </c:pt>
                <c:pt idx="59">
                  <c:v>686.55720252047036</c:v>
                </c:pt>
                <c:pt idx="60">
                  <c:v>707.26712334330296</c:v>
                </c:pt>
                <c:pt idx="61">
                  <c:v>728.09082231226034</c:v>
                </c:pt>
                <c:pt idx="62">
                  <c:v>748.99176750262313</c:v>
                </c:pt>
                <c:pt idx="63">
                  <c:v>769.94806128634173</c:v>
                </c:pt>
                <c:pt idx="64">
                  <c:v>790.96112136772581</c:v>
                </c:pt>
                <c:pt idx="65">
                  <c:v>811.99144131432445</c:v>
                </c:pt>
                <c:pt idx="66">
                  <c:v>833.02576688547765</c:v>
                </c:pt>
                <c:pt idx="67">
                  <c:v>854.07015620914819</c:v>
                </c:pt>
                <c:pt idx="68">
                  <c:v>875.08303975743252</c:v>
                </c:pt>
                <c:pt idx="69">
                  <c:v>896.05326109176269</c:v>
                </c:pt>
                <c:pt idx="70">
                  <c:v>916.9630210688141</c:v>
                </c:pt>
                <c:pt idx="71">
                  <c:v>937.79459982088952</c:v>
                </c:pt>
                <c:pt idx="72">
                  <c:v>958.53077860045414</c:v>
                </c:pt>
                <c:pt idx="73">
                  <c:v>979.15483820824352</c:v>
                </c:pt>
                <c:pt idx="74">
                  <c:v>999.65042573687128</c:v>
                </c:pt>
                <c:pt idx="75">
                  <c:v>1020.0015619102999</c:v>
                </c:pt>
                <c:pt idx="76">
                  <c:v>1040.1926948145087</c:v>
                </c:pt>
                <c:pt idx="77">
                  <c:v>1060.2087477483205</c:v>
                </c:pt>
                <c:pt idx="78">
                  <c:v>1080.0351978890958</c:v>
                </c:pt>
                <c:pt idx="79">
                  <c:v>1099.6581249089763</c:v>
                </c:pt>
                <c:pt idx="80">
                  <c:v>1119.0642328363956</c:v>
                </c:pt>
                <c:pt idx="81">
                  <c:v>1138.240871539638</c:v>
                </c:pt>
                <c:pt idx="82">
                  <c:v>1157.1760506613416</c:v>
                </c:pt>
                <c:pt idx="83">
                  <c:v>1175.8584483739442</c:v>
                </c:pt>
                <c:pt idx="84">
                  <c:v>1194.2774306396745</c:v>
                </c:pt>
                <c:pt idx="85">
                  <c:v>1212.4230660889386</c:v>
                </c:pt>
                <c:pt idx="86">
                  <c:v>1230.2861316529325</c:v>
                </c:pt>
                <c:pt idx="87">
                  <c:v>1247.8581198780844</c:v>
                </c:pt>
                <c:pt idx="88">
                  <c:v>1265.1312454254908</c:v>
                </c:pt>
                <c:pt idx="89">
                  <c:v>1282.0984418113546</c:v>
                </c:pt>
                <c:pt idx="90">
                  <c:v>1298.7533532625926</c:v>
                </c:pt>
                <c:pt idx="91">
                  <c:v>1315.0903334533389</c:v>
                </c:pt>
                <c:pt idx="92">
                  <c:v>1331.1044367174659</c:v>
                </c:pt>
                <c:pt idx="93">
                  <c:v>1346.7914043837948</c:v>
                </c:pt>
                <c:pt idx="94">
                  <c:v>1362.1476537183394</c:v>
                </c:pt>
                <c:pt idx="95">
                  <c:v>1377.1702635070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5.43345909680897</c:v>
                </c:pt>
                <c:pt idx="43">
                  <c:v>382.34376041270639</c:v>
                </c:pt>
                <c:pt idx="44">
                  <c:v>399.7609624181581</c:v>
                </c:pt>
                <c:pt idx="45">
                  <c:v>417.77188844334341</c:v>
                </c:pt>
                <c:pt idx="46">
                  <c:v>436.41090392657833</c:v>
                </c:pt>
                <c:pt idx="47">
                  <c:v>455.59090460018251</c:v>
                </c:pt>
                <c:pt idx="48">
                  <c:v>475.31939606592198</c:v>
                </c:pt>
                <c:pt idx="49">
                  <c:v>495.53143027148866</c:v>
                </c:pt>
                <c:pt idx="50">
                  <c:v>516.20688668283879</c:v>
                </c:pt>
                <c:pt idx="51">
                  <c:v>537.39347050155857</c:v>
                </c:pt>
                <c:pt idx="52">
                  <c:v>559.03244958904293</c:v>
                </c:pt>
                <c:pt idx="53">
                  <c:v>581.12286906221038</c:v>
                </c:pt>
                <c:pt idx="54">
                  <c:v>603.71740170094029</c:v>
                </c:pt>
                <c:pt idx="55">
                  <c:v>626.74780972536837</c:v>
                </c:pt>
                <c:pt idx="56">
                  <c:v>650.1918614183196</c:v>
                </c:pt>
                <c:pt idx="57">
                  <c:v>674.06865019490704</c:v>
                </c:pt>
                <c:pt idx="58">
                  <c:v>698.34658344435195</c:v>
                </c:pt>
                <c:pt idx="59">
                  <c:v>722.99449475483721</c:v>
                </c:pt>
                <c:pt idx="60">
                  <c:v>748.01193281809674</c:v>
                </c:pt>
                <c:pt idx="61">
                  <c:v>773.39336844828301</c:v>
                </c:pt>
                <c:pt idx="62">
                  <c:v>799.09796072692257</c:v>
                </c:pt>
                <c:pt idx="63">
                  <c:v>825.09832502447682</c:v>
                </c:pt>
                <c:pt idx="64">
                  <c:v>851.38925723899126</c:v>
                </c:pt>
                <c:pt idx="65">
                  <c:v>877.92398149416124</c:v>
                </c:pt>
                <c:pt idx="66">
                  <c:v>904.68118122285136</c:v>
                </c:pt>
                <c:pt idx="67">
                  <c:v>931.65775602797294</c:v>
                </c:pt>
                <c:pt idx="68">
                  <c:v>958.80209772453998</c:v>
                </c:pt>
                <c:pt idx="69">
                  <c:v>986.09208823744075</c:v>
                </c:pt>
                <c:pt idx="70">
                  <c:v>1013.4981770992889</c:v>
                </c:pt>
                <c:pt idx="71">
                  <c:v>1040.9901782695274</c:v>
                </c:pt>
                <c:pt idx="72">
                  <c:v>1068.5379164605149</c:v>
                </c:pt>
                <c:pt idx="73">
                  <c:v>1096.1112817989256</c:v>
                </c:pt>
                <c:pt idx="74">
                  <c:v>1123.680102662508</c:v>
                </c:pt>
                <c:pt idx="75">
                  <c:v>1151.2142199536743</c:v>
                </c:pt>
                <c:pt idx="76">
                  <c:v>1178.6836277672091</c:v>
                </c:pt>
                <c:pt idx="77">
                  <c:v>1206.0586058776416</c:v>
                </c:pt>
                <c:pt idx="78">
                  <c:v>1233.309897298006</c:v>
                </c:pt>
                <c:pt idx="79">
                  <c:v>1260.4088439602585</c:v>
                </c:pt>
                <c:pt idx="80">
                  <c:v>1287.32748420604</c:v>
                </c:pt>
                <c:pt idx="81">
                  <c:v>1314.0386480573031</c:v>
                </c:pt>
                <c:pt idx="82">
                  <c:v>1340.5160408478969</c:v>
                </c:pt>
                <c:pt idx="83">
                  <c:v>1366.7343177432572</c:v>
                </c:pt>
                <c:pt idx="84">
                  <c:v>1392.6691690004563</c:v>
                </c:pt>
                <c:pt idx="85">
                  <c:v>1418.2973961143912</c:v>
                </c:pt>
                <c:pt idx="86">
                  <c:v>1443.5969716100178</c:v>
                </c:pt>
                <c:pt idx="87">
                  <c:v>1468.5470967314973</c:v>
                </c:pt>
                <c:pt idx="88">
                  <c:v>1493.1282538124101</c:v>
                </c:pt>
                <c:pt idx="89">
                  <c:v>1517.3222407661783</c:v>
                </c:pt>
                <c:pt idx="90">
                  <c:v>1541.1121939743557</c:v>
                </c:pt>
                <c:pt idx="91">
                  <c:v>1564.4826159891011</c:v>
                </c:pt>
                <c:pt idx="92">
                  <c:v>1587.4193880951491</c:v>
                </c:pt>
                <c:pt idx="93">
                  <c:v>1609.9097714909312</c:v>
                </c:pt>
                <c:pt idx="94">
                  <c:v>1631.9424074457004</c:v>
                </c:pt>
                <c:pt idx="95">
                  <c:v>1653.5073085829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5.77158635023937</c:v>
                </c:pt>
                <c:pt idx="43">
                  <c:v>383.15800624688507</c:v>
                </c:pt>
                <c:pt idx="44">
                  <c:v>401.20742518602191</c:v>
                </c:pt>
                <c:pt idx="45">
                  <c:v>420.02464180509747</c:v>
                </c:pt>
                <c:pt idx="46">
                  <c:v>439.66185341640102</c:v>
                </c:pt>
                <c:pt idx="47">
                  <c:v>460.04929398918995</c:v>
                </c:pt>
                <c:pt idx="48">
                  <c:v>481.21014051227587</c:v>
                </c:pt>
                <c:pt idx="49">
                  <c:v>503.09400652987961</c:v>
                </c:pt>
                <c:pt idx="50">
                  <c:v>525.69399879250659</c:v>
                </c:pt>
                <c:pt idx="51">
                  <c:v>549.06991364095597</c:v>
                </c:pt>
                <c:pt idx="52">
                  <c:v>573.17435538699874</c:v>
                </c:pt>
                <c:pt idx="53">
                  <c:v>598.01638368318629</c:v>
                </c:pt>
                <c:pt idx="54">
                  <c:v>623.65751493522339</c:v>
                </c:pt>
                <c:pt idx="55">
                  <c:v>650.03711685124131</c:v>
                </c:pt>
                <c:pt idx="56">
                  <c:v>677.13921323475847</c:v>
                </c:pt>
                <c:pt idx="57">
                  <c:v>704.98768563534315</c:v>
                </c:pt>
                <c:pt idx="58">
                  <c:v>733.5544260998779</c:v>
                </c:pt>
                <c:pt idx="59">
                  <c:v>762.81033619799973</c:v>
                </c:pt>
                <c:pt idx="60">
                  <c:v>792.75530619723281</c:v>
                </c:pt>
                <c:pt idx="61">
                  <c:v>823.38240453459525</c:v>
                </c:pt>
                <c:pt idx="62">
                  <c:v>854.64773272115372</c:v>
                </c:pt>
                <c:pt idx="63">
                  <c:v>886.51900558956913</c:v>
                </c:pt>
                <c:pt idx="64">
                  <c:v>918.9842772457398</c:v>
                </c:pt>
                <c:pt idx="65">
                  <c:v>951.9887190040796</c:v>
                </c:pt>
                <c:pt idx="66">
                  <c:v>985.50148786129523</c:v>
                </c:pt>
                <c:pt idx="67">
                  <c:v>1019.5080872355851</c:v>
                </c:pt>
                <c:pt idx="68">
                  <c:v>1053.9438804798926</c:v>
                </c:pt>
                <c:pt idx="69">
                  <c:v>1088.7720611095069</c:v>
                </c:pt>
                <c:pt idx="70">
                  <c:v>1123.9468997669817</c:v>
                </c:pt>
                <c:pt idx="71">
                  <c:v>1159.4206511281873</c:v>
                </c:pt>
                <c:pt idx="72">
                  <c:v>1195.1445041909169</c:v>
                </c:pt>
                <c:pt idx="73">
                  <c:v>1231.0687428781621</c:v>
                </c:pt>
                <c:pt idx="74">
                  <c:v>1267.1426714719723</c:v>
                </c:pt>
                <c:pt idx="75">
                  <c:v>1303.314823215012</c:v>
                </c:pt>
                <c:pt idx="76">
                  <c:v>1339.533265463238</c:v>
                </c:pt>
                <c:pt idx="77">
                  <c:v>1375.7458979275643</c:v>
                </c:pt>
                <c:pt idx="78">
                  <c:v>1411.9008167348179</c:v>
                </c:pt>
                <c:pt idx="79">
                  <c:v>1447.946623624711</c:v>
                </c:pt>
                <c:pt idx="80">
                  <c:v>1483.8326838398591</c:v>
                </c:pt>
                <c:pt idx="81">
                  <c:v>1519.5093789259006</c:v>
                </c:pt>
                <c:pt idx="82">
                  <c:v>1554.9283410634869</c:v>
                </c:pt>
                <c:pt idx="83">
                  <c:v>1590.0426705709003</c:v>
                </c:pt>
                <c:pt idx="84">
                  <c:v>1624.8071604235961</c:v>
                </c:pt>
                <c:pt idx="85">
                  <c:v>1659.178501026181</c:v>
                </c:pt>
                <c:pt idx="86">
                  <c:v>1693.1154543782829</c:v>
                </c:pt>
                <c:pt idx="87">
                  <c:v>1726.5790152584689</c:v>
                </c:pt>
                <c:pt idx="88">
                  <c:v>1759.5325549547358</c:v>
                </c:pt>
                <c:pt idx="89">
                  <c:v>1791.9419302181191</c:v>
                </c:pt>
                <c:pt idx="90">
                  <c:v>1823.7755652655487</c:v>
                </c:pt>
                <c:pt idx="91">
                  <c:v>1855.0045289816819</c:v>
                </c:pt>
                <c:pt idx="92">
                  <c:v>1885.6025806750597</c:v>
                </c:pt>
                <c:pt idx="93">
                  <c:v>1915.5461897952748</c:v>
                </c:pt>
                <c:pt idx="94">
                  <c:v>1944.8145438495733</c:v>
                </c:pt>
                <c:pt idx="95">
                  <c:v>1973.389534812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8</c:v>
                </c:pt>
                <c:pt idx="1">
                  <c:v>91</c:v>
                </c:pt>
                <c:pt idx="2">
                  <c:v>96</c:v>
                </c:pt>
                <c:pt idx="3">
                  <c:v>103</c:v>
                </c:pt>
                <c:pt idx="4">
                  <c:v>112</c:v>
                </c:pt>
                <c:pt idx="5">
                  <c:v>125</c:v>
                </c:pt>
                <c:pt idx="6">
                  <c:v>131</c:v>
                </c:pt>
                <c:pt idx="7">
                  <c:v>142</c:v>
                </c:pt>
                <c:pt idx="8">
                  <c:v>148</c:v>
                </c:pt>
                <c:pt idx="9">
                  <c:v>153</c:v>
                </c:pt>
                <c:pt idx="10">
                  <c:v>176</c:v>
                </c:pt>
                <c:pt idx="11">
                  <c:v>189</c:v>
                </c:pt>
                <c:pt idx="12">
                  <c:v>198</c:v>
                </c:pt>
                <c:pt idx="13">
                  <c:v>208</c:v>
                </c:pt>
                <c:pt idx="14">
                  <c:v>223</c:v>
                </c:pt>
                <c:pt idx="15">
                  <c:v>232</c:v>
                </c:pt>
                <c:pt idx="16">
                  <c:v>242</c:v>
                </c:pt>
                <c:pt idx="17">
                  <c:v>267</c:v>
                </c:pt>
                <c:pt idx="18">
                  <c:v>291</c:v>
                </c:pt>
                <c:pt idx="19">
                  <c:v>311</c:v>
                </c:pt>
                <c:pt idx="20">
                  <c:v>331</c:v>
                </c:pt>
                <c:pt idx="21">
                  <c:v>354</c:v>
                </c:pt>
                <c:pt idx="22">
                  <c:v>372</c:v>
                </c:pt>
                <c:pt idx="23">
                  <c:v>390</c:v>
                </c:pt>
                <c:pt idx="24">
                  <c:v>438</c:v>
                </c:pt>
                <c:pt idx="25">
                  <c:v>487</c:v>
                </c:pt>
                <c:pt idx="26">
                  <c:v>541</c:v>
                </c:pt>
                <c:pt idx="27">
                  <c:v>560</c:v>
                </c:pt>
                <c:pt idx="28">
                  <c:v>622</c:v>
                </c:pt>
                <c:pt idx="29">
                  <c:v>649</c:v>
                </c:pt>
                <c:pt idx="30">
                  <c:v>683</c:v>
                </c:pt>
                <c:pt idx="31">
                  <c:v>774</c:v>
                </c:pt>
                <c:pt idx="32">
                  <c:v>830</c:v>
                </c:pt>
                <c:pt idx="33">
                  <c:v>896</c:v>
                </c:pt>
                <c:pt idx="34">
                  <c:v>968</c:v>
                </c:pt>
                <c:pt idx="35">
                  <c:v>1016</c:v>
                </c:pt>
                <c:pt idx="36">
                  <c:v>1064</c:v>
                </c:pt>
                <c:pt idx="37">
                  <c:v>1119</c:v>
                </c:pt>
                <c:pt idx="38">
                  <c:v>1194</c:v>
                </c:pt>
                <c:pt idx="39">
                  <c:v>1300</c:v>
                </c:pt>
                <c:pt idx="40">
                  <c:v>1386</c:v>
                </c:pt>
                <c:pt idx="41">
                  <c:v>1470</c:v>
                </c:pt>
                <c:pt idx="42">
                  <c:v>1540</c:v>
                </c:pt>
                <c:pt idx="43">
                  <c:v>1601</c:v>
                </c:pt>
                <c:pt idx="44">
                  <c:v>1649</c:v>
                </c:pt>
                <c:pt idx="45">
                  <c:v>1768</c:v>
                </c:pt>
                <c:pt idx="46">
                  <c:v>1862</c:v>
                </c:pt>
                <c:pt idx="47">
                  <c:v>1933</c:v>
                </c:pt>
                <c:pt idx="48">
                  <c:v>2029</c:v>
                </c:pt>
                <c:pt idx="49">
                  <c:v>2149</c:v>
                </c:pt>
                <c:pt idx="50">
                  <c:v>2236</c:v>
                </c:pt>
                <c:pt idx="51">
                  <c:v>2323</c:v>
                </c:pt>
                <c:pt idx="52">
                  <c:v>2428</c:v>
                </c:pt>
                <c:pt idx="53">
                  <c:v>2537</c:v>
                </c:pt>
                <c:pt idx="54">
                  <c:v>2623</c:v>
                </c:pt>
                <c:pt idx="55">
                  <c:v>2720</c:v>
                </c:pt>
                <c:pt idx="56">
                  <c:v>2828</c:v>
                </c:pt>
                <c:pt idx="57">
                  <c:v>2878</c:v>
                </c:pt>
                <c:pt idx="58">
                  <c:v>2947</c:v>
                </c:pt>
                <c:pt idx="59">
                  <c:v>3076</c:v>
                </c:pt>
                <c:pt idx="60">
                  <c:v>3204</c:v>
                </c:pt>
                <c:pt idx="61">
                  <c:v>3309</c:v>
                </c:pt>
                <c:pt idx="62">
                  <c:v>3432</c:v>
                </c:pt>
                <c:pt idx="63">
                  <c:v>3519</c:v>
                </c:pt>
                <c:pt idx="64">
                  <c:v>3590</c:v>
                </c:pt>
                <c:pt idx="65">
                  <c:v>3628</c:v>
                </c:pt>
                <c:pt idx="66">
                  <c:v>3729</c:v>
                </c:pt>
                <c:pt idx="67">
                  <c:v>3830</c:v>
                </c:pt>
                <c:pt idx="68">
                  <c:v>3927</c:v>
                </c:pt>
                <c:pt idx="69">
                  <c:v>4001</c:v>
                </c:pt>
                <c:pt idx="70">
                  <c:v>4092</c:v>
                </c:pt>
                <c:pt idx="71">
                  <c:v>4139</c:v>
                </c:pt>
                <c:pt idx="72">
                  <c:v>4185</c:v>
                </c:pt>
                <c:pt idx="73">
                  <c:v>4254</c:v>
                </c:pt>
                <c:pt idx="74">
                  <c:v>4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36.3882597023355</c:v>
                </c:pt>
                <c:pt idx="43">
                  <c:v>1605.1835251731445</c:v>
                </c:pt>
                <c:pt idx="44">
                  <c:v>1675.4237146401442</c:v>
                </c:pt>
                <c:pt idx="45">
                  <c:v>1747.4070322989389</c:v>
                </c:pt>
                <c:pt idx="46">
                  <c:v>1821.2151562163529</c:v>
                </c:pt>
                <c:pt idx="47">
                  <c:v>1896.4487337607191</c:v>
                </c:pt>
                <c:pt idx="48">
                  <c:v>1973.1024394980191</c:v>
                </c:pt>
                <c:pt idx="49">
                  <c:v>2050.8823437963247</c:v>
                </c:pt>
                <c:pt idx="50">
                  <c:v>2129.6494832563021</c:v>
                </c:pt>
                <c:pt idx="51">
                  <c:v>2209.5703221224749</c:v>
                </c:pt>
                <c:pt idx="52">
                  <c:v>2290.3892678308498</c:v>
                </c:pt>
                <c:pt idx="53">
                  <c:v>2372.0711880550557</c:v>
                </c:pt>
                <c:pt idx="54">
                  <c:v>2454.8256382668214</c:v>
                </c:pt>
                <c:pt idx="55">
                  <c:v>2538.3524247389623</c:v>
                </c:pt>
                <c:pt idx="56">
                  <c:v>2622.5506125681277</c:v>
                </c:pt>
                <c:pt idx="57">
                  <c:v>2707.4945674010169</c:v>
                </c:pt>
                <c:pt idx="58">
                  <c:v>2793.048937475146</c:v>
                </c:pt>
                <c:pt idx="59">
                  <c:v>2879.0968114971661</c:v>
                </c:pt>
                <c:pt idx="60">
                  <c:v>2965.6519487549563</c:v>
                </c:pt>
                <c:pt idx="61">
                  <c:v>3052.6871198892959</c:v>
                </c:pt>
                <c:pt idx="62">
                  <c:v>3140.0602039719242</c:v>
                </c:pt>
                <c:pt idx="63">
                  <c:v>3227.6791829029189</c:v>
                </c:pt>
                <c:pt idx="64">
                  <c:v>3315.5427549272108</c:v>
                </c:pt>
                <c:pt idx="65">
                  <c:v>3403.4852673243749</c:v>
                </c:pt>
                <c:pt idx="66">
                  <c:v>3491.4546320626478</c:v>
                </c:pt>
                <c:pt idx="67">
                  <c:v>3579.4859099150194</c:v>
                </c:pt>
                <c:pt idx="68">
                  <c:v>3667.3953309493536</c:v>
                </c:pt>
                <c:pt idx="69">
                  <c:v>3755.1388912357393</c:v>
                </c:pt>
                <c:pt idx="70">
                  <c:v>3842.6420191366201</c:v>
                </c:pt>
                <c:pt idx="71">
                  <c:v>3929.8304845003081</c:v>
                </c:pt>
                <c:pt idx="72">
                  <c:v>4016.6321300929535</c:v>
                </c:pt>
                <c:pt idx="73">
                  <c:v>4102.9768545565239</c:v>
                </c:pt>
                <c:pt idx="74">
                  <c:v>4188.7960473181538</c:v>
                </c:pt>
                <c:pt idx="75">
                  <c:v>4274.0226235568434</c:v>
                </c:pt>
                <c:pt idx="76">
                  <c:v>4358.5912495382263</c:v>
                </c:pt>
                <c:pt idx="77">
                  <c:v>4442.4385439925281</c:v>
                </c:pt>
                <c:pt idx="78">
                  <c:v>4525.5034173630193</c:v>
                </c:pt>
                <c:pt idx="79">
                  <c:v>4607.7272745605369</c:v>
                </c:pt>
                <c:pt idx="80">
                  <c:v>4689.0541077243006</c:v>
                </c:pt>
                <c:pt idx="81">
                  <c:v>4769.4305868644024</c:v>
                </c:pt>
                <c:pt idx="82">
                  <c:v>4848.8061215766047</c:v>
                </c:pt>
                <c:pt idx="83">
                  <c:v>4927.1329013790601</c:v>
                </c:pt>
                <c:pt idx="84">
                  <c:v>5004.3659766258525</c:v>
                </c:pt>
                <c:pt idx="85">
                  <c:v>5080.4633235882065</c:v>
                </c:pt>
                <c:pt idx="86">
                  <c:v>5155.3858722249815</c:v>
                </c:pt>
                <c:pt idx="87">
                  <c:v>5229.0975390207568</c:v>
                </c:pt>
                <c:pt idx="88">
                  <c:v>5301.5652547542231</c:v>
                </c:pt>
                <c:pt idx="89">
                  <c:v>5372.7589528671697</c:v>
                </c:pt>
                <c:pt idx="90">
                  <c:v>5442.6515396038321</c:v>
                </c:pt>
                <c:pt idx="91">
                  <c:v>5511.2188884188827</c:v>
                </c:pt>
                <c:pt idx="92">
                  <c:v>5578.4398060391104</c:v>
                </c:pt>
                <c:pt idx="93">
                  <c:v>5644.2959785504809</c:v>
                </c:pt>
                <c:pt idx="94">
                  <c:v>5708.7719273063294</c:v>
                </c:pt>
                <c:pt idx="95">
                  <c:v>5771.8549492649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37.7771635385679</c:v>
                </c:pt>
                <c:pt idx="43">
                  <c:v>1608.5174579452905</c:v>
                </c:pt>
                <c:pt idx="44">
                  <c:v>1681.3243691869866</c:v>
                </c:pt>
                <c:pt idx="45">
                  <c:v>1756.5592852211091</c:v>
                </c:pt>
                <c:pt idx="46">
                  <c:v>1834.3648706417257</c:v>
                </c:pt>
                <c:pt idx="47">
                  <c:v>1914.3993935734929</c:v>
                </c:pt>
                <c:pt idx="48">
                  <c:v>1996.7073262454471</c:v>
                </c:pt>
                <c:pt idx="49">
                  <c:v>2081.0389779451248</c:v>
                </c:pt>
                <c:pt idx="50">
                  <c:v>2167.2934582699659</c:v>
                </c:pt>
                <c:pt idx="51">
                  <c:v>2255.6700376862973</c:v>
                </c:pt>
                <c:pt idx="52">
                  <c:v>2345.9424231293356</c:v>
                </c:pt>
                <c:pt idx="53">
                  <c:v>2438.0994582086787</c:v>
                </c:pt>
                <c:pt idx="54">
                  <c:v>2532.3700835438385</c:v>
                </c:pt>
                <c:pt idx="55">
                  <c:v>2628.469052937563</c:v>
                </c:pt>
                <c:pt idx="56">
                  <c:v>2726.3056335548081</c:v>
                </c:pt>
                <c:pt idx="57">
                  <c:v>2825.9595135339623</c:v>
                </c:pt>
                <c:pt idx="58">
                  <c:v>2927.2966164213872</c:v>
                </c:pt>
                <c:pt idx="59">
                  <c:v>3030.1970895952772</c:v>
                </c:pt>
                <c:pt idx="60">
                  <c:v>3134.6666889577032</c:v>
                </c:pt>
                <c:pt idx="61">
                  <c:v>3240.6652631264751</c:v>
                </c:pt>
                <c:pt idx="62">
                  <c:v>3348.0333978497347</c:v>
                </c:pt>
                <c:pt idx="63">
                  <c:v>3456.6568709182757</c:v>
                </c:pt>
                <c:pt idx="64">
                  <c:v>3566.5074461870718</c:v>
                </c:pt>
                <c:pt idx="65">
                  <c:v>3677.3897448495873</c:v>
                </c:pt>
                <c:pt idx="66">
                  <c:v>3789.2186230474276</c:v>
                </c:pt>
                <c:pt idx="67">
                  <c:v>3901.9914658903162</c:v>
                </c:pt>
                <c:pt idx="68">
                  <c:v>4015.4831275304014</c:v>
                </c:pt>
                <c:pt idx="69">
                  <c:v>4129.604303124579</c:v>
                </c:pt>
                <c:pt idx="70">
                  <c:v>4244.2317647194777</c:v>
                </c:pt>
                <c:pt idx="71">
                  <c:v>4359.2396034572666</c:v>
                </c:pt>
                <c:pt idx="72">
                  <c:v>4474.5018825759125</c:v>
                </c:pt>
                <c:pt idx="73">
                  <c:v>4589.892849509687</c:v>
                </c:pt>
                <c:pt idx="74">
                  <c:v>4705.2863922338065</c:v>
                </c:pt>
                <c:pt idx="75">
                  <c:v>4820.5563542654681</c:v>
                </c:pt>
                <c:pt idx="76">
                  <c:v>4935.5771223935826</c:v>
                </c:pt>
                <c:pt idx="77">
                  <c:v>5050.2241816556852</c:v>
                </c:pt>
                <c:pt idx="78">
                  <c:v>5164.3748721563179</c:v>
                </c:pt>
                <c:pt idx="79">
                  <c:v>5277.9089553302665</c:v>
                </c:pt>
                <c:pt idx="80">
                  <c:v>5390.709023603742</c:v>
                </c:pt>
                <c:pt idx="81">
                  <c:v>5502.6609009526219</c:v>
                </c:pt>
                <c:pt idx="82">
                  <c:v>5613.6539988075201</c:v>
                </c:pt>
                <c:pt idx="83">
                  <c:v>5723.5816343148135</c:v>
                </c:pt>
                <c:pt idx="84">
                  <c:v>5832.341389556228</c:v>
                </c:pt>
                <c:pt idx="85">
                  <c:v>5939.8354361131805</c:v>
                </c:pt>
                <c:pt idx="86">
                  <c:v>6045.9707935910128</c:v>
                </c:pt>
                <c:pt idx="87">
                  <c:v>6150.6595768135776</c:v>
                </c:pt>
                <c:pt idx="88">
                  <c:v>6253.8192187702271</c:v>
                </c:pt>
                <c:pt idx="89">
                  <c:v>6355.3726209354918</c:v>
                </c:pt>
                <c:pt idx="90">
                  <c:v>6455.2482580968281</c:v>
                </c:pt>
                <c:pt idx="91">
                  <c:v>6553.3802971922141</c:v>
                </c:pt>
                <c:pt idx="92">
                  <c:v>6649.70865713083</c:v>
                </c:pt>
                <c:pt idx="93">
                  <c:v>6744.1790216123663</c:v>
                </c:pt>
                <c:pt idx="94">
                  <c:v>6836.7428461120708</c:v>
                </c:pt>
                <c:pt idx="95">
                  <c:v>6927.35732558328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39.1749125934398</c:v>
                </c:pt>
                <c:pt idx="43">
                  <c:v>1611.8833291905144</c:v>
                </c:pt>
                <c:pt idx="44">
                  <c:v>1687.3038009496627</c:v>
                </c:pt>
                <c:pt idx="45">
                  <c:v>1765.872261944297</c:v>
                </c:pt>
                <c:pt idx="46">
                  <c:v>1847.8053770037104</c:v>
                </c:pt>
                <c:pt idx="47">
                  <c:v>1932.8335369405377</c:v>
                </c:pt>
                <c:pt idx="48">
                  <c:v>2021.0668450092649</c:v>
                </c:pt>
                <c:pt idx="49">
                  <c:v>2112.3168249868295</c:v>
                </c:pt>
                <c:pt idx="50">
                  <c:v>2206.5385022717373</c:v>
                </c:pt>
                <c:pt idx="51">
                  <c:v>2303.982435276861</c:v>
                </c:pt>
                <c:pt idx="52">
                  <c:v>2404.4704607738372</c:v>
                </c:pt>
                <c:pt idx="53">
                  <c:v>2508.0342106038966</c:v>
                </c:pt>
                <c:pt idx="54">
                  <c:v>2614.9405179281266</c:v>
                </c:pt>
                <c:pt idx="55">
                  <c:v>2724.9369607350391</c:v>
                </c:pt>
                <c:pt idx="56">
                  <c:v>2837.96005317248</c:v>
                </c:pt>
                <c:pt idx="57">
                  <c:v>2954.110623526431</c:v>
                </c:pt>
                <c:pt idx="58">
                  <c:v>3073.2702877892839</c:v>
                </c:pt>
                <c:pt idx="59">
                  <c:v>3195.3289908920315</c:v>
                </c:pt>
                <c:pt idx="60">
                  <c:v>3320.2950928959144</c:v>
                </c:pt>
                <c:pt idx="61">
                  <c:v>3448.1237641639054</c:v>
                </c:pt>
                <c:pt idx="62">
                  <c:v>3578.6439182150862</c:v>
                </c:pt>
                <c:pt idx="63">
                  <c:v>3711.7219968425234</c:v>
                </c:pt>
                <c:pt idx="64">
                  <c:v>3847.3027695734395</c:v>
                </c:pt>
                <c:pt idx="65">
                  <c:v>3985.1583113825777</c:v>
                </c:pt>
                <c:pt idx="66">
                  <c:v>4125.1647603243537</c:v>
                </c:pt>
                <c:pt idx="67">
                  <c:v>4267.2729254743554</c:v>
                </c:pt>
                <c:pt idx="68">
                  <c:v>4411.2042282529183</c:v>
                </c:pt>
                <c:pt idx="69">
                  <c:v>4556.8089079142701</c:v>
                </c:pt>
                <c:pt idx="70">
                  <c:v>4703.8969732822661</c:v>
                </c:pt>
                <c:pt idx="71">
                  <c:v>4852.2699229261852</c:v>
                </c:pt>
                <c:pt idx="72">
                  <c:v>5001.7246424010973</c:v>
                </c:pt>
                <c:pt idx="73">
                  <c:v>5152.0540461902556</c:v>
                </c:pt>
                <c:pt idx="74">
                  <c:v>5303.046743580202</c:v>
                </c:pt>
                <c:pt idx="75">
                  <c:v>5454.4879110147231</c:v>
                </c:pt>
                <c:pt idx="76">
                  <c:v>5606.1605624848298</c:v>
                </c:pt>
                <c:pt idx="77">
                  <c:v>5757.8467943009</c:v>
                </c:pt>
                <c:pt idx="78">
                  <c:v>5909.3293245037084</c:v>
                </c:pt>
                <c:pt idx="79">
                  <c:v>6060.3927828255546</c:v>
                </c:pt>
                <c:pt idx="80">
                  <c:v>6210.8247913992336</c:v>
                </c:pt>
                <c:pt idx="81">
                  <c:v>6360.4170261296022</c:v>
                </c:pt>
                <c:pt idx="82">
                  <c:v>6508.966207413454</c:v>
                </c:pt>
                <c:pt idx="83">
                  <c:v>6656.2750219227073</c:v>
                </c:pt>
                <c:pt idx="84">
                  <c:v>6802.153069819542</c:v>
                </c:pt>
                <c:pt idx="85">
                  <c:v>6946.417734681253</c:v>
                </c:pt>
                <c:pt idx="86">
                  <c:v>7088.8949295824805</c:v>
                </c:pt>
                <c:pt idx="87">
                  <c:v>7229.4197861293196</c:v>
                </c:pt>
                <c:pt idx="88">
                  <c:v>7367.8372684515562</c:v>
                </c:pt>
                <c:pt idx="89">
                  <c:v>7504.0026450688083</c:v>
                </c:pt>
                <c:pt idx="90">
                  <c:v>7637.7818522395091</c:v>
                </c:pt>
                <c:pt idx="91">
                  <c:v>7769.0518291770122</c:v>
                </c:pt>
                <c:pt idx="92">
                  <c:v>7897.7007274619036</c:v>
                </c:pt>
                <c:pt idx="93">
                  <c:v>8023.6280122156986</c:v>
                </c:pt>
                <c:pt idx="94">
                  <c:v>8146.7445115692844</c:v>
                </c:pt>
                <c:pt idx="95">
                  <c:v>8266.9723729203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4</c:v>
                </c:pt>
                <c:pt idx="1">
                  <c:v>25</c:v>
                </c:pt>
                <c:pt idx="2">
                  <c:v>29</c:v>
                </c:pt>
                <c:pt idx="3">
                  <c:v>31</c:v>
                </c:pt>
                <c:pt idx="4">
                  <c:v>32</c:v>
                </c:pt>
                <c:pt idx="5">
                  <c:v>34</c:v>
                </c:pt>
                <c:pt idx="6">
                  <c:v>40</c:v>
                </c:pt>
                <c:pt idx="7">
                  <c:v>44</c:v>
                </c:pt>
                <c:pt idx="8">
                  <c:v>46</c:v>
                </c:pt>
                <c:pt idx="9">
                  <c:v>49</c:v>
                </c:pt>
                <c:pt idx="10">
                  <c:v>54</c:v>
                </c:pt>
                <c:pt idx="11">
                  <c:v>58</c:v>
                </c:pt>
                <c:pt idx="12">
                  <c:v>61</c:v>
                </c:pt>
                <c:pt idx="13">
                  <c:v>64</c:v>
                </c:pt>
                <c:pt idx="14">
                  <c:v>75</c:v>
                </c:pt>
                <c:pt idx="15">
                  <c:v>80</c:v>
                </c:pt>
                <c:pt idx="16">
                  <c:v>81</c:v>
                </c:pt>
                <c:pt idx="17">
                  <c:v>90</c:v>
                </c:pt>
                <c:pt idx="18">
                  <c:v>97</c:v>
                </c:pt>
                <c:pt idx="19">
                  <c:v>105</c:v>
                </c:pt>
                <c:pt idx="20">
                  <c:v>112</c:v>
                </c:pt>
                <c:pt idx="21">
                  <c:v>128</c:v>
                </c:pt>
                <c:pt idx="22">
                  <c:v>135</c:v>
                </c:pt>
                <c:pt idx="23">
                  <c:v>144</c:v>
                </c:pt>
                <c:pt idx="24">
                  <c:v>155</c:v>
                </c:pt>
                <c:pt idx="25">
                  <c:v>174</c:v>
                </c:pt>
                <c:pt idx="26">
                  <c:v>188</c:v>
                </c:pt>
                <c:pt idx="27">
                  <c:v>201</c:v>
                </c:pt>
                <c:pt idx="28">
                  <c:v>221</c:v>
                </c:pt>
                <c:pt idx="29">
                  <c:v>237</c:v>
                </c:pt>
                <c:pt idx="30">
                  <c:v>250</c:v>
                </c:pt>
                <c:pt idx="31">
                  <c:v>276</c:v>
                </c:pt>
                <c:pt idx="32">
                  <c:v>297</c:v>
                </c:pt>
                <c:pt idx="33">
                  <c:v>317</c:v>
                </c:pt>
                <c:pt idx="34">
                  <c:v>353</c:v>
                </c:pt>
                <c:pt idx="35">
                  <c:v>383</c:v>
                </c:pt>
                <c:pt idx="36">
                  <c:v>406</c:v>
                </c:pt>
                <c:pt idx="37">
                  <c:v>430</c:v>
                </c:pt>
                <c:pt idx="38">
                  <c:v>481</c:v>
                </c:pt>
                <c:pt idx="39">
                  <c:v>535</c:v>
                </c:pt>
                <c:pt idx="40">
                  <c:v>588</c:v>
                </c:pt>
                <c:pt idx="41">
                  <c:v>636</c:v>
                </c:pt>
                <c:pt idx="42">
                  <c:v>687</c:v>
                </c:pt>
                <c:pt idx="43">
                  <c:v>709</c:v>
                </c:pt>
                <c:pt idx="44">
                  <c:v>740</c:v>
                </c:pt>
                <c:pt idx="45">
                  <c:v>789</c:v>
                </c:pt>
                <c:pt idx="46">
                  <c:v>848</c:v>
                </c:pt>
                <c:pt idx="47">
                  <c:v>886</c:v>
                </c:pt>
                <c:pt idx="48">
                  <c:v>931</c:v>
                </c:pt>
                <c:pt idx="49">
                  <c:v>979</c:v>
                </c:pt>
                <c:pt idx="50">
                  <c:v>1017</c:v>
                </c:pt>
                <c:pt idx="51">
                  <c:v>1072</c:v>
                </c:pt>
                <c:pt idx="52">
                  <c:v>1123</c:v>
                </c:pt>
                <c:pt idx="53">
                  <c:v>1190</c:v>
                </c:pt>
                <c:pt idx="54">
                  <c:v>1230</c:v>
                </c:pt>
                <c:pt idx="55">
                  <c:v>1275</c:v>
                </c:pt>
                <c:pt idx="56">
                  <c:v>1336</c:v>
                </c:pt>
                <c:pt idx="57">
                  <c:v>1364</c:v>
                </c:pt>
                <c:pt idx="58">
                  <c:v>1388</c:v>
                </c:pt>
                <c:pt idx="59">
                  <c:v>1463</c:v>
                </c:pt>
                <c:pt idx="60">
                  <c:v>1518</c:v>
                </c:pt>
                <c:pt idx="61">
                  <c:v>1567</c:v>
                </c:pt>
                <c:pt idx="62">
                  <c:v>1622</c:v>
                </c:pt>
                <c:pt idx="63">
                  <c:v>1666</c:v>
                </c:pt>
                <c:pt idx="64">
                  <c:v>1682</c:v>
                </c:pt>
                <c:pt idx="65">
                  <c:v>1709</c:v>
                </c:pt>
                <c:pt idx="66">
                  <c:v>1769</c:v>
                </c:pt>
                <c:pt idx="67">
                  <c:v>1812</c:v>
                </c:pt>
                <c:pt idx="68">
                  <c:v>1847</c:v>
                </c:pt>
                <c:pt idx="69">
                  <c:v>1885</c:v>
                </c:pt>
                <c:pt idx="70">
                  <c:v>1932</c:v>
                </c:pt>
                <c:pt idx="71">
                  <c:v>1966</c:v>
                </c:pt>
                <c:pt idx="72">
                  <c:v>1987</c:v>
                </c:pt>
                <c:pt idx="73">
                  <c:v>2047</c:v>
                </c:pt>
                <c:pt idx="74">
                  <c:v>20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67.94881985411359</c:v>
                </c:pt>
                <c:pt idx="43">
                  <c:v>700.54760702594911</c:v>
                </c:pt>
                <c:pt idx="44">
                  <c:v>733.80001206989527</c:v>
                </c:pt>
                <c:pt idx="45">
                  <c:v>767.84642006226909</c:v>
                </c:pt>
                <c:pt idx="46">
                  <c:v>802.72510004805304</c:v>
                </c:pt>
                <c:pt idx="47">
                  <c:v>838.26203410149992</c:v>
                </c:pt>
                <c:pt idx="48">
                  <c:v>874.46319468007994</c:v>
                </c:pt>
                <c:pt idx="49">
                  <c:v>911.20361260523975</c:v>
                </c:pt>
                <c:pt idx="50">
                  <c:v>948.40599045479337</c:v>
                </c:pt>
                <c:pt idx="51">
                  <c:v>986.14846458950331</c:v>
                </c:pt>
                <c:pt idx="52">
                  <c:v>1024.3222898812321</c:v>
                </c:pt>
                <c:pt idx="53">
                  <c:v>1062.9055146809114</c:v>
                </c:pt>
                <c:pt idx="54">
                  <c:v>1102.0025025427713</c:v>
                </c:pt>
                <c:pt idx="55">
                  <c:v>1141.4706102291648</c:v>
                </c:pt>
                <c:pt idx="56">
                  <c:v>1181.2629094568808</c:v>
                </c:pt>
                <c:pt idx="57">
                  <c:v>1221.413892473839</c:v>
                </c:pt>
                <c:pt idx="58">
                  <c:v>1261.8576068051798</c:v>
                </c:pt>
                <c:pt idx="59">
                  <c:v>1302.5450492236782</c:v>
                </c:pt>
                <c:pt idx="60">
                  <c:v>1343.4872131197471</c:v>
                </c:pt>
                <c:pt idx="61">
                  <c:v>1384.6594196556102</c:v>
                </c:pt>
                <c:pt idx="62">
                  <c:v>1426.0014176040268</c:v>
                </c:pt>
                <c:pt idx="63">
                  <c:v>1467.4693511331996</c:v>
                </c:pt>
                <c:pt idx="64">
                  <c:v>1509.0578316675146</c:v>
                </c:pt>
                <c:pt idx="65">
                  <c:v>1550.6881462349104</c:v>
                </c:pt>
                <c:pt idx="66">
                  <c:v>1592.3378401315631</c:v>
                </c:pt>
                <c:pt idx="67">
                  <c:v>1634.0299311940257</c:v>
                </c:pt>
                <c:pt idx="68">
                  <c:v>1675.670866157421</c:v>
                </c:pt>
                <c:pt idx="69">
                  <c:v>1717.2415628721055</c:v>
                </c:pt>
                <c:pt idx="70">
                  <c:v>1758.7066275126861</c:v>
                </c:pt>
                <c:pt idx="71">
                  <c:v>1800.0308344933612</c:v>
                </c:pt>
                <c:pt idx="72">
                  <c:v>1841.1799245797276</c:v>
                </c:pt>
                <c:pt idx="73">
                  <c:v>1882.1205899113463</c:v>
                </c:pt>
                <c:pt idx="74">
                  <c:v>1922.8202013156058</c:v>
                </c:pt>
                <c:pt idx="75">
                  <c:v>1963.2468276822058</c:v>
                </c:pt>
                <c:pt idx="76">
                  <c:v>2003.3693430608419</c:v>
                </c:pt>
                <c:pt idx="77">
                  <c:v>2043.1575228346544</c:v>
                </c:pt>
                <c:pt idx="78">
                  <c:v>2082.5822111073621</c:v>
                </c:pt>
                <c:pt idx="79">
                  <c:v>2121.61541632428</c:v>
                </c:pt>
                <c:pt idx="80">
                  <c:v>2160.230356069661</c:v>
                </c:pt>
                <c:pt idx="81">
                  <c:v>2198.4015005062611</c:v>
                </c:pt>
                <c:pt idx="82">
                  <c:v>2236.1046038637714</c:v>
                </c:pt>
                <c:pt idx="83">
                  <c:v>2273.3167259915722</c:v>
                </c:pt>
                <c:pt idx="84">
                  <c:v>2310.0162709085198</c:v>
                </c:pt>
                <c:pt idx="85">
                  <c:v>2346.183019501746</c:v>
                </c:pt>
                <c:pt idx="86">
                  <c:v>2381.7981454558771</c:v>
                </c:pt>
                <c:pt idx="87">
                  <c:v>2416.8442322839405</c:v>
                </c:pt>
                <c:pt idx="88">
                  <c:v>2451.3052868616246</c:v>
                </c:pt>
                <c:pt idx="89">
                  <c:v>2485.1667352411723</c:v>
                </c:pt>
                <c:pt idx="90">
                  <c:v>2518.4154112860274</c:v>
                </c:pt>
                <c:pt idx="91">
                  <c:v>2551.0395538200992</c:v>
                </c:pt>
                <c:pt idx="92">
                  <c:v>2583.0287924156391</c:v>
                </c:pt>
                <c:pt idx="93">
                  <c:v>2614.3741240033041</c:v>
                </c:pt>
                <c:pt idx="94">
                  <c:v>2645.0678934180205</c:v>
                </c:pt>
                <c:pt idx="95">
                  <c:v>2675.10376556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68.59565653124002</c:v>
                </c:pt>
                <c:pt idx="43">
                  <c:v>702.10023874343005</c:v>
                </c:pt>
                <c:pt idx="44">
                  <c:v>736.54807526744412</c:v>
                </c:pt>
                <c:pt idx="45">
                  <c:v>772.10913056371123</c:v>
                </c:pt>
                <c:pt idx="46">
                  <c:v>808.85025195521257</c:v>
                </c:pt>
                <c:pt idx="47">
                  <c:v>846.62452943578478</c:v>
                </c:pt>
                <c:pt idx="48">
                  <c:v>885.46165289449459</c:v>
                </c:pt>
                <c:pt idx="49">
                  <c:v>925.25788055112844</c:v>
                </c:pt>
                <c:pt idx="50">
                  <c:v>965.95439524754966</c:v>
                </c:pt>
                <c:pt idx="51">
                  <c:v>1007.6453836606795</c:v>
                </c:pt>
                <c:pt idx="52">
                  <c:v>1050.2364668613004</c:v>
                </c:pt>
                <c:pt idx="53">
                  <c:v>1093.717635379259</c:v>
                </c:pt>
                <c:pt idx="54">
                  <c:v>1138.2029938846272</c:v>
                </c:pt>
                <c:pt idx="55">
                  <c:v>1183.5575807631969</c:v>
                </c:pt>
                <c:pt idx="56">
                  <c:v>1229.7399191001873</c:v>
                </c:pt>
                <c:pt idx="57">
                  <c:v>1276.7876295578239</c:v>
                </c:pt>
                <c:pt idx="58">
                  <c:v>1324.6359454768988</c:v>
                </c:pt>
                <c:pt idx="59">
                  <c:v>1373.2350456943923</c:v>
                </c:pt>
                <c:pt idx="60">
                  <c:v>1422.5926998780442</c:v>
                </c:pt>
                <c:pt idx="61">
                  <c:v>1472.6786603110177</c:v>
                </c:pt>
                <c:pt idx="62">
                  <c:v>1523.4249683753278</c:v>
                </c:pt>
                <c:pt idx="63">
                  <c:v>1574.7777462684935</c:v>
                </c:pt>
                <c:pt idx="64">
                  <c:v>1626.7193542083842</c:v>
                </c:pt>
                <c:pt idx="65">
                  <c:v>1679.1574513857058</c:v>
                </c:pt>
                <c:pt idx="66">
                  <c:v>1732.0543696886793</c:v>
                </c:pt>
                <c:pt idx="67">
                  <c:v>1785.415702932037</c:v>
                </c:pt>
                <c:pt idx="68">
                  <c:v>1839.128709128466</c:v>
                </c:pt>
                <c:pt idx="69">
                  <c:v>1893.1532162363656</c:v>
                </c:pt>
                <c:pt idx="70">
                  <c:v>1947.4311170621256</c:v>
                </c:pt>
                <c:pt idx="71">
                  <c:v>2001.9030200574034</c:v>
                </c:pt>
                <c:pt idx="72">
                  <c:v>2056.5094723661468</c:v>
                </c:pt>
                <c:pt idx="73">
                  <c:v>2111.1910493530386</c:v>
                </c:pt>
                <c:pt idx="74">
                  <c:v>2165.8880893948453</c:v>
                </c:pt>
                <c:pt idx="75">
                  <c:v>2220.5408459075079</c:v>
                </c:pt>
                <c:pt idx="76">
                  <c:v>2275.089765235813</c:v>
                </c:pt>
                <c:pt idx="77">
                  <c:v>2329.4757499988245</c:v>
                </c:pt>
                <c:pt idx="78">
                  <c:v>2383.6405268058734</c:v>
                </c:pt>
                <c:pt idx="79">
                  <c:v>2437.5269135810086</c:v>
                </c:pt>
                <c:pt idx="80">
                  <c:v>2491.0790147983466</c:v>
                </c:pt>
                <c:pt idx="81">
                  <c:v>2544.2424125277375</c:v>
                </c:pt>
                <c:pt idx="82">
                  <c:v>2596.9643389944622</c:v>
                </c:pt>
                <c:pt idx="83">
                  <c:v>2649.1938316220567</c:v>
                </c:pt>
                <c:pt idx="84">
                  <c:v>2700.8819048539717</c:v>
                </c:pt>
                <c:pt idx="85">
                  <c:v>2751.9817078514097</c:v>
                </c:pt>
                <c:pt idx="86">
                  <c:v>2802.4486524783447</c:v>
                </c:pt>
                <c:pt idx="87">
                  <c:v>2852.2405342499433</c:v>
                </c:pt>
                <c:pt idx="88">
                  <c:v>2901.3176404789419</c:v>
                </c:pt>
                <c:pt idx="89">
                  <c:v>2949.6428254545795</c:v>
                </c:pt>
                <c:pt idx="90">
                  <c:v>2997.1815660830121</c:v>
                </c:pt>
                <c:pt idx="91">
                  <c:v>3043.9020201190874</c:v>
                </c:pt>
                <c:pt idx="92">
                  <c:v>3089.7750592963321</c:v>
                </c:pt>
                <c:pt idx="93">
                  <c:v>3134.7742805967896</c:v>
                </c:pt>
                <c:pt idx="94">
                  <c:v>3178.8760137344693</c:v>
                </c:pt>
                <c:pt idx="95">
                  <c:v>3222.05930860731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69.24663268125778</c:v>
                </c:pt>
                <c:pt idx="43">
                  <c:v>703.66779531440613</c:v>
                </c:pt>
                <c:pt idx="44">
                  <c:v>739.33291996120306</c:v>
                </c:pt>
                <c:pt idx="45">
                  <c:v>776.4468497368598</c:v>
                </c:pt>
                <c:pt idx="46">
                  <c:v>815.11108779635367</c:v>
                </c:pt>
                <c:pt idx="47">
                  <c:v>855.21261440049784</c:v>
                </c:pt>
                <c:pt idx="48">
                  <c:v>896.81225258418829</c:v>
                </c:pt>
                <c:pt idx="49">
                  <c:v>939.8354510446203</c:v>
                </c:pt>
                <c:pt idx="50">
                  <c:v>984.25026028332456</c:v>
                </c:pt>
                <c:pt idx="51">
                  <c:v>1030.1756251952847</c:v>
                </c:pt>
                <c:pt idx="52">
                  <c:v>1077.5404286100766</c:v>
                </c:pt>
                <c:pt idx="53">
                  <c:v>1126.3555171367664</c:v>
                </c:pt>
                <c:pt idx="54">
                  <c:v>1176.7535344631872</c:v>
                </c:pt>
                <c:pt idx="55">
                  <c:v>1228.6157307860519</c:v>
                </c:pt>
                <c:pt idx="56">
                  <c:v>1281.9142457152825</c:v>
                </c:pt>
                <c:pt idx="57">
                  <c:v>1336.6974449411148</c:v>
                </c:pt>
                <c:pt idx="58">
                  <c:v>1392.908730006327</c:v>
                </c:pt>
                <c:pt idx="59">
                  <c:v>1450.5036767085321</c:v>
                </c:pt>
                <c:pt idx="60">
                  <c:v>1509.4920635682392</c:v>
                </c:pt>
                <c:pt idx="61">
                  <c:v>1569.842211147653</c:v>
                </c:pt>
                <c:pt idx="62">
                  <c:v>1631.4813704716378</c:v>
                </c:pt>
                <c:pt idx="63">
                  <c:v>1694.34727386082</c:v>
                </c:pt>
                <c:pt idx="64">
                  <c:v>1758.4102935726523</c:v>
                </c:pt>
                <c:pt idx="65">
                  <c:v>1823.563426731472</c:v>
                </c:pt>
                <c:pt idx="66">
                  <c:v>1889.7514151764065</c:v>
                </c:pt>
                <c:pt idx="67">
                  <c:v>1956.9585169844995</c:v>
                </c:pt>
                <c:pt idx="68">
                  <c:v>2025.0473881373866</c:v>
                </c:pt>
                <c:pt idx="69">
                  <c:v>2093.9498759559929</c:v>
                </c:pt>
                <c:pt idx="70">
                  <c:v>2163.5768576188589</c:v>
                </c:pt>
                <c:pt idx="71">
                  <c:v>2233.8351288511253</c:v>
                </c:pt>
                <c:pt idx="72">
                  <c:v>2304.6291982549578</c:v>
                </c:pt>
                <c:pt idx="73">
                  <c:v>2375.8615716204386</c:v>
                </c:pt>
                <c:pt idx="74">
                  <c:v>2447.4325790301996</c:v>
                </c:pt>
                <c:pt idx="75">
                  <c:v>2519.2407878446384</c:v>
                </c:pt>
                <c:pt idx="76">
                  <c:v>2591.1836003396375</c:v>
                </c:pt>
                <c:pt idx="77">
                  <c:v>2663.1578413835578</c:v>
                </c:pt>
                <c:pt idx="78">
                  <c:v>2735.0604983973822</c:v>
                </c:pt>
                <c:pt idx="79">
                  <c:v>2806.7893300122023</c:v>
                </c:pt>
                <c:pt idx="80">
                  <c:v>2878.2433791678577</c:v>
                </c:pt>
                <c:pt idx="81">
                  <c:v>2949.323478342757</c:v>
                </c:pt>
                <c:pt idx="82">
                  <c:v>3019.9327256794309</c:v>
                </c:pt>
                <c:pt idx="83">
                  <c:v>3089.9769294264015</c:v>
                </c:pt>
                <c:pt idx="84">
                  <c:v>3159.3650618377374</c:v>
                </c:pt>
                <c:pt idx="85">
                  <c:v>3228.0096799753405</c:v>
                </c:pt>
                <c:pt idx="86">
                  <c:v>3295.8272906211018</c:v>
                </c:pt>
                <c:pt idx="87">
                  <c:v>3362.7386863608176</c:v>
                </c:pt>
                <c:pt idx="88">
                  <c:v>3428.6692447870528</c:v>
                </c:pt>
                <c:pt idx="89">
                  <c:v>3493.5491626007069</c:v>
                </c:pt>
                <c:pt idx="90">
                  <c:v>3557.3136411035325</c:v>
                </c:pt>
                <c:pt idx="91">
                  <c:v>3619.9030530553582</c:v>
                </c:pt>
                <c:pt idx="92">
                  <c:v>3681.263053735654</c:v>
                </c:pt>
                <c:pt idx="93">
                  <c:v>3741.3446411951545</c:v>
                </c:pt>
                <c:pt idx="94">
                  <c:v>3800.1041904742269</c:v>
                </c:pt>
                <c:pt idx="95">
                  <c:v>3857.5034415360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6</c:v>
                </c:pt>
                <c:pt idx="1">
                  <c:v>37</c:v>
                </c:pt>
                <c:pt idx="2">
                  <c:v>38</c:v>
                </c:pt>
                <c:pt idx="3">
                  <c:v>40</c:v>
                </c:pt>
                <c:pt idx="4">
                  <c:v>41</c:v>
                </c:pt>
                <c:pt idx="5">
                  <c:v>45</c:v>
                </c:pt>
                <c:pt idx="6">
                  <c:v>51</c:v>
                </c:pt>
                <c:pt idx="7">
                  <c:v>54</c:v>
                </c:pt>
                <c:pt idx="8">
                  <c:v>55</c:v>
                </c:pt>
                <c:pt idx="9">
                  <c:v>57</c:v>
                </c:pt>
                <c:pt idx="10">
                  <c:v>64</c:v>
                </c:pt>
                <c:pt idx="11">
                  <c:v>69</c:v>
                </c:pt>
                <c:pt idx="12">
                  <c:v>72</c:v>
                </c:pt>
                <c:pt idx="13">
                  <c:v>76</c:v>
                </c:pt>
                <c:pt idx="14">
                  <c:v>82</c:v>
                </c:pt>
                <c:pt idx="15">
                  <c:v>92</c:v>
                </c:pt>
                <c:pt idx="16">
                  <c:v>98</c:v>
                </c:pt>
                <c:pt idx="17">
                  <c:v>110</c:v>
                </c:pt>
                <c:pt idx="18">
                  <c:v>117</c:v>
                </c:pt>
                <c:pt idx="19">
                  <c:v>134</c:v>
                </c:pt>
                <c:pt idx="20">
                  <c:v>144</c:v>
                </c:pt>
                <c:pt idx="21">
                  <c:v>157</c:v>
                </c:pt>
                <c:pt idx="22">
                  <c:v>163</c:v>
                </c:pt>
                <c:pt idx="23">
                  <c:v>173</c:v>
                </c:pt>
                <c:pt idx="24">
                  <c:v>185</c:v>
                </c:pt>
                <c:pt idx="25">
                  <c:v>200</c:v>
                </c:pt>
                <c:pt idx="26">
                  <c:v>227</c:v>
                </c:pt>
                <c:pt idx="27">
                  <c:v>236</c:v>
                </c:pt>
                <c:pt idx="28">
                  <c:v>252</c:v>
                </c:pt>
                <c:pt idx="29">
                  <c:v>281</c:v>
                </c:pt>
                <c:pt idx="30">
                  <c:v>294</c:v>
                </c:pt>
                <c:pt idx="31">
                  <c:v>329</c:v>
                </c:pt>
                <c:pt idx="32">
                  <c:v>359</c:v>
                </c:pt>
                <c:pt idx="33">
                  <c:v>381</c:v>
                </c:pt>
                <c:pt idx="34">
                  <c:v>424</c:v>
                </c:pt>
                <c:pt idx="35">
                  <c:v>451</c:v>
                </c:pt>
                <c:pt idx="36">
                  <c:v>480</c:v>
                </c:pt>
                <c:pt idx="37">
                  <c:v>510</c:v>
                </c:pt>
                <c:pt idx="38">
                  <c:v>552</c:v>
                </c:pt>
                <c:pt idx="39">
                  <c:v>590</c:v>
                </c:pt>
                <c:pt idx="40">
                  <c:v>623</c:v>
                </c:pt>
                <c:pt idx="41">
                  <c:v>664</c:v>
                </c:pt>
                <c:pt idx="42">
                  <c:v>692</c:v>
                </c:pt>
                <c:pt idx="43">
                  <c:v>717</c:v>
                </c:pt>
                <c:pt idx="44">
                  <c:v>758</c:v>
                </c:pt>
                <c:pt idx="45">
                  <c:v>832</c:v>
                </c:pt>
                <c:pt idx="46">
                  <c:v>865</c:v>
                </c:pt>
                <c:pt idx="47">
                  <c:v>909</c:v>
                </c:pt>
                <c:pt idx="48">
                  <c:v>942</c:v>
                </c:pt>
                <c:pt idx="49">
                  <c:v>1002</c:v>
                </c:pt>
                <c:pt idx="50">
                  <c:v>1051</c:v>
                </c:pt>
                <c:pt idx="51">
                  <c:v>1089</c:v>
                </c:pt>
                <c:pt idx="52">
                  <c:v>1149</c:v>
                </c:pt>
                <c:pt idx="53">
                  <c:v>1203</c:v>
                </c:pt>
                <c:pt idx="54">
                  <c:v>1264</c:v>
                </c:pt>
                <c:pt idx="55">
                  <c:v>1327</c:v>
                </c:pt>
                <c:pt idx="56">
                  <c:v>1415</c:v>
                </c:pt>
                <c:pt idx="57">
                  <c:v>1463</c:v>
                </c:pt>
                <c:pt idx="58">
                  <c:v>1503</c:v>
                </c:pt>
                <c:pt idx="59">
                  <c:v>1598</c:v>
                </c:pt>
                <c:pt idx="60">
                  <c:v>1642</c:v>
                </c:pt>
                <c:pt idx="61">
                  <c:v>1693</c:v>
                </c:pt>
                <c:pt idx="62">
                  <c:v>1736</c:v>
                </c:pt>
                <c:pt idx="63">
                  <c:v>1804</c:v>
                </c:pt>
                <c:pt idx="64">
                  <c:v>1837</c:v>
                </c:pt>
                <c:pt idx="65">
                  <c:v>1884</c:v>
                </c:pt>
                <c:pt idx="66">
                  <c:v>1945</c:v>
                </c:pt>
                <c:pt idx="67">
                  <c:v>1992</c:v>
                </c:pt>
                <c:pt idx="68">
                  <c:v>2059</c:v>
                </c:pt>
                <c:pt idx="69">
                  <c:v>2114</c:v>
                </c:pt>
                <c:pt idx="70">
                  <c:v>2151</c:v>
                </c:pt>
                <c:pt idx="71">
                  <c:v>2185</c:v>
                </c:pt>
                <c:pt idx="72">
                  <c:v>2214</c:v>
                </c:pt>
                <c:pt idx="73">
                  <c:v>2256</c:v>
                </c:pt>
                <c:pt idx="74">
                  <c:v>2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9.91540410751804</c:v>
                </c:pt>
                <c:pt idx="43">
                  <c:v>738.63176070699126</c:v>
                </c:pt>
                <c:pt idx="44">
                  <c:v>778.17820908867145</c:v>
                </c:pt>
                <c:pt idx="45">
                  <c:v>818.7230725647413</c:v>
                </c:pt>
                <c:pt idx="46">
                  <c:v>860.31255422387437</c:v>
                </c:pt>
                <c:pt idx="47">
                  <c:v>902.71361817062279</c:v>
                </c:pt>
                <c:pt idx="48">
                  <c:v>945.91863887961324</c:v>
                </c:pt>
                <c:pt idx="49">
                  <c:v>989.75440371253194</c:v>
                </c:pt>
                <c:pt idx="50">
                  <c:v>1034.1489448095488</c:v>
                </c:pt>
                <c:pt idx="51">
                  <c:v>1079.196349156334</c:v>
                </c:pt>
                <c:pt idx="52">
                  <c:v>1124.7460373256476</c:v>
                </c:pt>
                <c:pt idx="53">
                  <c:v>1170.7811273025948</c:v>
                </c:pt>
                <c:pt idx="54">
                  <c:v>1217.4167924856933</c:v>
                </c:pt>
                <c:pt idx="55">
                  <c:v>1264.4843065276011</c:v>
                </c:pt>
                <c:pt idx="56">
                  <c:v>1311.926375360438</c:v>
                </c:pt>
                <c:pt idx="57">
                  <c:v>1359.7852566754282</c:v>
                </c:pt>
                <c:pt idx="58">
                  <c:v>1407.985766885949</c:v>
                </c:pt>
                <c:pt idx="59">
                  <c:v>1456.4586268919229</c:v>
                </c:pt>
                <c:pt idx="60">
                  <c:v>1505.2091429664415</c:v>
                </c:pt>
                <c:pt idx="61">
                  <c:v>1554.2284065948106</c:v>
                </c:pt>
                <c:pt idx="62">
                  <c:v>1603.432571219887</c:v>
                </c:pt>
                <c:pt idx="63">
                  <c:v>1652.7699889724722</c:v>
                </c:pt>
                <c:pt idx="64">
                  <c:v>1702.2425268500583</c:v>
                </c:pt>
                <c:pt idx="65">
                  <c:v>1751.7570782007031</c:v>
                </c:pt>
                <c:pt idx="66">
                  <c:v>1801.2831156816917</c:v>
                </c:pt>
                <c:pt idx="67">
                  <c:v>1850.8368817194673</c:v>
                </c:pt>
                <c:pt idx="68">
                  <c:v>1900.3184816084006</c:v>
                </c:pt>
                <c:pt idx="69">
                  <c:v>1949.7021871246914</c:v>
                </c:pt>
                <c:pt idx="70">
                  <c:v>1998.9460626442574</c:v>
                </c:pt>
                <c:pt idx="71">
                  <c:v>2048.0083612225339</c:v>
                </c:pt>
                <c:pt idx="72">
                  <c:v>2096.8485111693653</c:v>
                </c:pt>
                <c:pt idx="73">
                  <c:v>2145.4271102183184</c:v>
                </c:pt>
                <c:pt idx="74">
                  <c:v>2193.7056101855233</c:v>
                </c:pt>
                <c:pt idx="75">
                  <c:v>2241.6463351197422</c:v>
                </c:pt>
                <c:pt idx="76">
                  <c:v>2289.2126079398759</c:v>
                </c:pt>
                <c:pt idx="77">
                  <c:v>2336.368863357116</c:v>
                </c:pt>
                <c:pt idx="78">
                  <c:v>2383.0808351821188</c:v>
                </c:pt>
                <c:pt idx="79">
                  <c:v>2429.3156706781738</c:v>
                </c:pt>
                <c:pt idx="80">
                  <c:v>2475.0419823058628</c:v>
                </c:pt>
                <c:pt idx="81">
                  <c:v>2520.2298984684267</c:v>
                </c:pt>
                <c:pt idx="82">
                  <c:v>2564.8510970204957</c:v>
                </c:pt>
                <c:pt idx="83">
                  <c:v>2608.8788266398442</c:v>
                </c:pt>
                <c:pt idx="84">
                  <c:v>2652.2879522499061</c:v>
                </c:pt>
                <c:pt idx="85">
                  <c:v>2695.054990632686</c:v>
                </c:pt>
                <c:pt idx="86">
                  <c:v>2737.1581245482089</c:v>
                </c:pt>
                <c:pt idx="87">
                  <c:v>2778.5772204139048</c:v>
                </c:pt>
                <c:pt idx="88">
                  <c:v>2819.2938437270832</c:v>
                </c:pt>
                <c:pt idx="89">
                  <c:v>2859.2912517972786</c:v>
                </c:pt>
                <c:pt idx="90">
                  <c:v>2898.55437542458</c:v>
                </c:pt>
                <c:pt idx="91">
                  <c:v>2937.0698158620594</c:v>
                </c:pt>
                <c:pt idx="92">
                  <c:v>2974.825824697527</c:v>
                </c:pt>
                <c:pt idx="93">
                  <c:v>3011.81227233758</c:v>
                </c:pt>
                <c:pt idx="94">
                  <c:v>3048.0206224098947</c:v>
                </c:pt>
                <c:pt idx="95">
                  <c:v>3083.4438979461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00.70320178647262</c:v>
                </c:pt>
                <c:pt idx="43">
                  <c:v>740.5228159166594</c:v>
                </c:pt>
                <c:pt idx="44">
                  <c:v>781.52509485981227</c:v>
                </c:pt>
                <c:pt idx="45">
                  <c:v>823.91411659385608</c:v>
                </c:pt>
                <c:pt idx="46">
                  <c:v>867.7705804979006</c:v>
                </c:pt>
                <c:pt idx="47">
                  <c:v>912.89398495326475</c:v>
                </c:pt>
                <c:pt idx="48">
                  <c:v>959.30466363143933</c:v>
                </c:pt>
                <c:pt idx="49">
                  <c:v>1006.854156316794</c:v>
                </c:pt>
                <c:pt idx="50">
                  <c:v>1055.4916824147158</c:v>
                </c:pt>
                <c:pt idx="51">
                  <c:v>1105.3295163527603</c:v>
                </c:pt>
                <c:pt idx="52">
                  <c:v>1156.2333048746405</c:v>
                </c:pt>
                <c:pt idx="53">
                  <c:v>1208.1993424646371</c:v>
                </c:pt>
                <c:pt idx="54">
                  <c:v>1261.3534094383633</c:v>
                </c:pt>
                <c:pt idx="55">
                  <c:v>1315.5348653987712</c:v>
                </c:pt>
                <c:pt idx="56">
                  <c:v>1370.6918215741541</c:v>
                </c:pt>
                <c:pt idx="57">
                  <c:v>1426.8692007008035</c:v>
                </c:pt>
                <c:pt idx="58">
                  <c:v>1483.9922201062329</c:v>
                </c:pt>
                <c:pt idx="59">
                  <c:v>1541.9896316793556</c:v>
                </c:pt>
                <c:pt idx="60">
                  <c:v>1600.8619277543526</c:v>
                </c:pt>
                <c:pt idx="61">
                  <c:v>1660.5926256562529</c:v>
                </c:pt>
                <c:pt idx="62">
                  <c:v>1721.0878811913215</c:v>
                </c:pt>
                <c:pt idx="63">
                  <c:v>1782.2832784201391</c:v>
                </c:pt>
                <c:pt idx="64">
                  <c:v>1844.1652475230649</c:v>
                </c:pt>
                <c:pt idx="65">
                  <c:v>1906.6237032285935</c:v>
                </c:pt>
                <c:pt idx="66">
                  <c:v>1969.6092699056119</c:v>
                </c:pt>
                <c:pt idx="67">
                  <c:v>2033.1167534666206</c:v>
                </c:pt>
                <c:pt idx="68">
                  <c:v>2097.0227464483628</c:v>
                </c:pt>
                <c:pt idx="69">
                  <c:v>2161.2758214734949</c:v>
                </c:pt>
                <c:pt idx="70">
                  <c:v>2225.806473679419</c:v>
                </c:pt>
                <c:pt idx="71">
                  <c:v>2290.5436970818964</c:v>
                </c:pt>
                <c:pt idx="72">
                  <c:v>2355.4164961892266</c:v>
                </c:pt>
                <c:pt idx="73">
                  <c:v>2420.354011346948</c:v>
                </c:pt>
                <c:pt idx="74">
                  <c:v>2485.2852169198241</c:v>
                </c:pt>
                <c:pt idx="75">
                  <c:v>2550.1390970616731</c:v>
                </c:pt>
                <c:pt idx="76">
                  <c:v>2614.8449768067067</c:v>
                </c:pt>
                <c:pt idx="77">
                  <c:v>2679.3328341967708</c:v>
                </c:pt>
                <c:pt idx="78">
                  <c:v>2743.5337212455506</c:v>
                </c:pt>
                <c:pt idx="79">
                  <c:v>2807.3800831633166</c:v>
                </c:pt>
                <c:pt idx="80">
                  <c:v>2870.8059882963435</c:v>
                </c:pt>
                <c:pt idx="81">
                  <c:v>2933.7473528759792</c:v>
                </c:pt>
                <c:pt idx="82">
                  <c:v>2996.1421391817112</c:v>
                </c:pt>
                <c:pt idx="83">
                  <c:v>3057.9305323442713</c:v>
                </c:pt>
                <c:pt idx="84">
                  <c:v>3119.055141631753</c:v>
                </c:pt>
                <c:pt idx="85">
                  <c:v>3179.4611809808443</c:v>
                </c:pt>
                <c:pt idx="86">
                  <c:v>3239.0966115012407</c:v>
                </c:pt>
                <c:pt idx="87">
                  <c:v>3297.9122785127124</c:v>
                </c:pt>
                <c:pt idx="88">
                  <c:v>3355.8620356511142</c:v>
                </c:pt>
                <c:pt idx="89">
                  <c:v>3412.9028273130434</c:v>
                </c:pt>
                <c:pt idx="90">
                  <c:v>3468.9947443993638</c:v>
                </c:pt>
                <c:pt idx="91">
                  <c:v>3524.1010901480395</c:v>
                </c:pt>
                <c:pt idx="92">
                  <c:v>3578.1884111936238</c:v>
                </c:pt>
                <c:pt idx="93">
                  <c:v>3631.2265019512711</c:v>
                </c:pt>
                <c:pt idx="94">
                  <c:v>3683.1884062740392</c:v>
                </c:pt>
                <c:pt idx="95">
                  <c:v>3734.0503977750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01.49600559552209</c:v>
                </c:pt>
                <c:pt idx="43">
                  <c:v>742.43195935125141</c:v>
                </c:pt>
                <c:pt idx="44">
                  <c:v>784.91661273616319</c:v>
                </c:pt>
                <c:pt idx="45">
                  <c:v>829.19623906076117</c:v>
                </c:pt>
                <c:pt idx="46">
                  <c:v>875.39340630044728</c:v>
                </c:pt>
                <c:pt idx="47">
                  <c:v>923.34835717687906</c:v>
                </c:pt>
                <c:pt idx="48">
                  <c:v>973.11834257670967</c:v>
                </c:pt>
                <c:pt idx="49">
                  <c:v>1024.5892521947303</c:v>
                </c:pt>
                <c:pt idx="50">
                  <c:v>1077.7415709614488</c:v>
                </c:pt>
                <c:pt idx="51">
                  <c:v>1132.7161889042579</c:v>
                </c:pt>
                <c:pt idx="52">
                  <c:v>1189.4055910467664</c:v>
                </c:pt>
                <c:pt idx="53">
                  <c:v>1247.8298356789051</c:v>
                </c:pt>
                <c:pt idx="54">
                  <c:v>1308.1357102326165</c:v>
                </c:pt>
                <c:pt idx="55">
                  <c:v>1370.1806885190811</c:v>
                </c:pt>
                <c:pt idx="56">
                  <c:v>1433.9278313876998</c:v>
                </c:pt>
                <c:pt idx="57">
                  <c:v>1499.4335622962117</c:v>
                </c:pt>
                <c:pt idx="58">
                  <c:v>1566.6315309605779</c:v>
                </c:pt>
                <c:pt idx="59">
                  <c:v>1635.4555921292338</c:v>
                </c:pt>
                <c:pt idx="60">
                  <c:v>1705.9072815564014</c:v>
                </c:pt>
                <c:pt idx="61">
                  <c:v>1777.9670560513723</c:v>
                </c:pt>
                <c:pt idx="62">
                  <c:v>1851.5340991179835</c:v>
                </c:pt>
                <c:pt idx="63">
                  <c:v>1926.5326921066971</c:v>
                </c:pt>
                <c:pt idx="64">
                  <c:v>2002.9336357623476</c:v>
                </c:pt>
                <c:pt idx="65">
                  <c:v>2080.6081145102066</c:v>
                </c:pt>
                <c:pt idx="66">
                  <c:v>2159.4845509018596</c:v>
                </c:pt>
                <c:pt idx="67">
                  <c:v>2239.531138850075</c:v>
                </c:pt>
                <c:pt idx="68">
                  <c:v>2320.5940094916591</c:v>
                </c:pt>
                <c:pt idx="69">
                  <c:v>2402.5873491739421</c:v>
                </c:pt>
                <c:pt idx="70">
                  <c:v>2485.403742345798</c:v>
                </c:pt>
                <c:pt idx="71">
                  <c:v>2568.9310106984221</c:v>
                </c:pt>
                <c:pt idx="72">
                  <c:v>2653.0544349795823</c:v>
                </c:pt>
                <c:pt idx="73">
                  <c:v>2737.6571270913473</c:v>
                </c:pt>
                <c:pt idx="74">
                  <c:v>2822.6198499898119</c:v>
                </c:pt>
                <c:pt idx="75">
                  <c:v>2907.8215088332713</c:v>
                </c:pt>
                <c:pt idx="76">
                  <c:v>2993.1398682918498</c:v>
                </c:pt>
                <c:pt idx="77">
                  <c:v>3078.4522542532663</c:v>
                </c:pt>
                <c:pt idx="78">
                  <c:v>3163.6364144431122</c:v>
                </c:pt>
                <c:pt idx="79">
                  <c:v>3248.5712457974823</c:v>
                </c:pt>
                <c:pt idx="80">
                  <c:v>3333.1374021145007</c:v>
                </c:pt>
                <c:pt idx="81">
                  <c:v>3417.2178901181069</c:v>
                </c:pt>
                <c:pt idx="82">
                  <c:v>3500.6986233777207</c:v>
                </c:pt>
                <c:pt idx="83">
                  <c:v>3583.4689368969102</c:v>
                </c:pt>
                <c:pt idx="84">
                  <c:v>3665.4221174273698</c:v>
                </c:pt>
                <c:pt idx="85">
                  <c:v>3746.4558883643217</c:v>
                </c:pt>
                <c:pt idx="86">
                  <c:v>3826.4728234246259</c:v>
                </c:pt>
                <c:pt idx="87">
                  <c:v>3905.3807291979138</c:v>
                </c:pt>
                <c:pt idx="88">
                  <c:v>3983.0929861862978</c:v>
                </c:pt>
                <c:pt idx="89">
                  <c:v>4059.5288086355527</c:v>
                </c:pt>
                <c:pt idx="90">
                  <c:v>4134.6134417634185</c:v>
                </c:pt>
                <c:pt idx="91">
                  <c:v>4208.2783460452065</c:v>
                </c:pt>
                <c:pt idx="92">
                  <c:v>4280.4613086206627</c:v>
                </c:pt>
                <c:pt idx="93">
                  <c:v>4351.1064935256427</c:v>
                </c:pt>
                <c:pt idx="94">
                  <c:v>4420.1644636602387</c:v>
                </c:pt>
                <c:pt idx="95">
                  <c:v>4487.5921514532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9</c:v>
                </c:pt>
                <c:pt idx="4">
                  <c:v>21</c:v>
                </c:pt>
                <c:pt idx="5">
                  <c:v>20</c:v>
                </c:pt>
                <c:pt idx="6">
                  <c:v>17</c:v>
                </c:pt>
                <c:pt idx="7">
                  <c:v>20</c:v>
                </c:pt>
                <c:pt idx="8">
                  <c:v>20</c:v>
                </c:pt>
                <c:pt idx="9">
                  <c:v>21</c:v>
                </c:pt>
                <c:pt idx="10">
                  <c:v>27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27</c:v>
                </c:pt>
                <c:pt idx="15">
                  <c:v>32</c:v>
                </c:pt>
                <c:pt idx="16">
                  <c:v>30</c:v>
                </c:pt>
                <c:pt idx="17">
                  <c:v>34</c:v>
                </c:pt>
                <c:pt idx="18">
                  <c:v>44</c:v>
                </c:pt>
                <c:pt idx="19">
                  <c:v>46</c:v>
                </c:pt>
                <c:pt idx="20">
                  <c:v>52</c:v>
                </c:pt>
                <c:pt idx="21">
                  <c:v>50</c:v>
                </c:pt>
                <c:pt idx="22">
                  <c:v>45</c:v>
                </c:pt>
                <c:pt idx="23">
                  <c:v>50</c:v>
                </c:pt>
                <c:pt idx="24">
                  <c:v>51</c:v>
                </c:pt>
                <c:pt idx="25">
                  <c:v>57</c:v>
                </c:pt>
                <c:pt idx="26">
                  <c:v>59</c:v>
                </c:pt>
                <c:pt idx="27">
                  <c:v>56</c:v>
                </c:pt>
                <c:pt idx="28">
                  <c:v>68</c:v>
                </c:pt>
                <c:pt idx="29">
                  <c:v>68</c:v>
                </c:pt>
                <c:pt idx="30">
                  <c:v>84</c:v>
                </c:pt>
                <c:pt idx="31">
                  <c:v>106</c:v>
                </c:pt>
                <c:pt idx="32">
                  <c:v>114</c:v>
                </c:pt>
                <c:pt idx="33">
                  <c:v>119</c:v>
                </c:pt>
                <c:pt idx="34">
                  <c:v>129</c:v>
                </c:pt>
                <c:pt idx="35">
                  <c:v>137</c:v>
                </c:pt>
                <c:pt idx="36">
                  <c:v>129</c:v>
                </c:pt>
                <c:pt idx="37">
                  <c:v>147</c:v>
                </c:pt>
                <c:pt idx="38">
                  <c:v>168</c:v>
                </c:pt>
                <c:pt idx="39">
                  <c:v>172</c:v>
                </c:pt>
                <c:pt idx="40">
                  <c:v>192</c:v>
                </c:pt>
                <c:pt idx="41">
                  <c:v>189</c:v>
                </c:pt>
                <c:pt idx="42">
                  <c:v>214</c:v>
                </c:pt>
                <c:pt idx="43">
                  <c:v>215</c:v>
                </c:pt>
                <c:pt idx="44">
                  <c:v>229</c:v>
                </c:pt>
                <c:pt idx="45">
                  <c:v>260</c:v>
                </c:pt>
                <c:pt idx="46">
                  <c:v>294</c:v>
                </c:pt>
                <c:pt idx="47">
                  <c:v>295</c:v>
                </c:pt>
                <c:pt idx="48">
                  <c:v>315</c:v>
                </c:pt>
                <c:pt idx="49">
                  <c:v>300</c:v>
                </c:pt>
                <c:pt idx="50">
                  <c:v>286</c:v>
                </c:pt>
                <c:pt idx="51">
                  <c:v>298</c:v>
                </c:pt>
                <c:pt idx="52">
                  <c:v>360</c:v>
                </c:pt>
                <c:pt idx="53">
                  <c:v>365</c:v>
                </c:pt>
                <c:pt idx="54">
                  <c:v>371</c:v>
                </c:pt>
                <c:pt idx="55">
                  <c:v>408</c:v>
                </c:pt>
                <c:pt idx="56">
                  <c:v>429</c:v>
                </c:pt>
                <c:pt idx="57">
                  <c:v>395</c:v>
                </c:pt>
                <c:pt idx="58">
                  <c:v>416</c:v>
                </c:pt>
                <c:pt idx="59">
                  <c:v>479</c:v>
                </c:pt>
                <c:pt idx="60">
                  <c:v>498</c:v>
                </c:pt>
                <c:pt idx="61">
                  <c:v>480</c:v>
                </c:pt>
                <c:pt idx="62">
                  <c:v>480</c:v>
                </c:pt>
                <c:pt idx="63">
                  <c:v>469</c:v>
                </c:pt>
                <c:pt idx="64">
                  <c:v>454</c:v>
                </c:pt>
                <c:pt idx="65">
                  <c:v>473</c:v>
                </c:pt>
                <c:pt idx="66">
                  <c:v>550</c:v>
                </c:pt>
                <c:pt idx="67">
                  <c:v>521</c:v>
                </c:pt>
                <c:pt idx="68">
                  <c:v>531</c:v>
                </c:pt>
                <c:pt idx="69">
                  <c:v>530</c:v>
                </c:pt>
                <c:pt idx="70">
                  <c:v>509</c:v>
                </c:pt>
                <c:pt idx="71">
                  <c:v>450</c:v>
                </c:pt>
                <c:pt idx="72">
                  <c:v>459</c:v>
                </c:pt>
                <c:pt idx="73">
                  <c:v>494</c:v>
                </c:pt>
                <c:pt idx="74">
                  <c:v>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28.20617419878329</c:v>
                </c:pt>
                <c:pt idx="43">
                  <c:v>235.38941021007341</c:v>
                </c:pt>
                <c:pt idx="44">
                  <c:v>242.55699278453244</c:v>
                </c:pt>
                <c:pt idx="45">
                  <c:v>249.41444323624683</c:v>
                </c:pt>
                <c:pt idx="46">
                  <c:v>255.67788913733511</c:v>
                </c:pt>
                <c:pt idx="47">
                  <c:v>261.49708275632497</c:v>
                </c:pt>
                <c:pt idx="48">
                  <c:v>267.15775127468237</c:v>
                </c:pt>
                <c:pt idx="49">
                  <c:v>272.76896078780504</c:v>
                </c:pt>
                <c:pt idx="50">
                  <c:v>278.28701437341425</c:v>
                </c:pt>
                <c:pt idx="51">
                  <c:v>284.02468296524444</c:v>
                </c:pt>
                <c:pt idx="52">
                  <c:v>289.59471122710113</c:v>
                </c:pt>
                <c:pt idx="53">
                  <c:v>294.30582045084611</c:v>
                </c:pt>
                <c:pt idx="54">
                  <c:v>298.56386524802639</c:v>
                </c:pt>
                <c:pt idx="55">
                  <c:v>302.67141575966269</c:v>
                </c:pt>
                <c:pt idx="56">
                  <c:v>306.72295796951789</c:v>
                </c:pt>
                <c:pt idx="57">
                  <c:v>310.76974833908167</c:v>
                </c:pt>
                <c:pt idx="58">
                  <c:v>314.76233397295283</c:v>
                </c:pt>
                <c:pt idx="59">
                  <c:v>318.65387933943941</c:v>
                </c:pt>
                <c:pt idx="60">
                  <c:v>322.25333342751412</c:v>
                </c:pt>
                <c:pt idx="61">
                  <c:v>325.57838447091717</c:v>
                </c:pt>
                <c:pt idx="62">
                  <c:v>328.67776137112389</c:v>
                </c:pt>
                <c:pt idx="63">
                  <c:v>331.57200732890323</c:v>
                </c:pt>
                <c:pt idx="64">
                  <c:v>334.22847693324161</c:v>
                </c:pt>
                <c:pt idx="65">
                  <c:v>336.70073485380379</c:v>
                </c:pt>
                <c:pt idx="66">
                  <c:v>338.94498536938409</c:v>
                </c:pt>
                <c:pt idx="67">
                  <c:v>340.97642316141872</c:v>
                </c:pt>
                <c:pt idx="68">
                  <c:v>342.7071737355763</c:v>
                </c:pt>
                <c:pt idx="69">
                  <c:v>344.18014147282622</c:v>
                </c:pt>
                <c:pt idx="70">
                  <c:v>345.41908978123558</c:v>
                </c:pt>
                <c:pt idx="71">
                  <c:v>346.30606887831078</c:v>
                </c:pt>
                <c:pt idx="72">
                  <c:v>346.92240217239123</c:v>
                </c:pt>
                <c:pt idx="73">
                  <c:v>347.28166888499686</c:v>
                </c:pt>
                <c:pt idx="74">
                  <c:v>347.33821546527474</c:v>
                </c:pt>
                <c:pt idx="75">
                  <c:v>347.10356364101733</c:v>
                </c:pt>
                <c:pt idx="76">
                  <c:v>346.59060680907646</c:v>
                </c:pt>
                <c:pt idx="77">
                  <c:v>345.81567783968285</c:v>
                </c:pt>
                <c:pt idx="78">
                  <c:v>344.70269494756548</c:v>
                </c:pt>
                <c:pt idx="79">
                  <c:v>343.31820926869796</c:v>
                </c:pt>
                <c:pt idx="80">
                  <c:v>341.66963564747294</c:v>
                </c:pt>
                <c:pt idx="81">
                  <c:v>339.72245369332097</c:v>
                </c:pt>
                <c:pt idx="82">
                  <c:v>337.47480388397253</c:v>
                </c:pt>
                <c:pt idx="83">
                  <c:v>334.9998814788301</c:v>
                </c:pt>
                <c:pt idx="84">
                  <c:v>332.27099485645692</c:v>
                </c:pt>
                <c:pt idx="85">
                  <c:v>329.23366529159387</c:v>
                </c:pt>
                <c:pt idx="86">
                  <c:v>326.00976206705695</c:v>
                </c:pt>
                <c:pt idx="87">
                  <c:v>322.57581731080722</c:v>
                </c:pt>
                <c:pt idx="88">
                  <c:v>318.82541298163972</c:v>
                </c:pt>
                <c:pt idx="89">
                  <c:v>314.9046113221076</c:v>
                </c:pt>
                <c:pt idx="90">
                  <c:v>310.81691034400012</c:v>
                </c:pt>
                <c:pt idx="91">
                  <c:v>306.53349080319288</c:v>
                </c:pt>
                <c:pt idx="92">
                  <c:v>301.99275501703403</c:v>
                </c:pt>
                <c:pt idx="93">
                  <c:v>297.28089276741889</c:v>
                </c:pt>
                <c:pt idx="94">
                  <c:v>292.43612188482393</c:v>
                </c:pt>
                <c:pt idx="95">
                  <c:v>287.43886506201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28.71614282301658</c:v>
                </c:pt>
                <c:pt idx="43">
                  <c:v>236.59206442168579</c:v>
                </c:pt>
                <c:pt idx="44">
                  <c:v>244.64931274467182</c:v>
                </c:pt>
                <c:pt idx="45">
                  <c:v>252.59970833381743</c:v>
                </c:pt>
                <c:pt idx="46">
                  <c:v>260.16936234662541</c:v>
                </c:pt>
                <c:pt idx="47">
                  <c:v>267.50836372063424</c:v>
                </c:pt>
                <c:pt idx="48">
                  <c:v>274.9060131031539</c:v>
                </c:pt>
                <c:pt idx="49">
                  <c:v>282.46680612015831</c:v>
                </c:pt>
                <c:pt idx="50">
                  <c:v>290.14677722961324</c:v>
                </c:pt>
                <c:pt idx="51">
                  <c:v>298.25262183291915</c:v>
                </c:pt>
                <c:pt idx="52">
                  <c:v>306.39424595035581</c:v>
                </c:pt>
                <c:pt idx="53">
                  <c:v>313.87252154632245</c:v>
                </c:pt>
                <c:pt idx="54">
                  <c:v>321.08672041459431</c:v>
                </c:pt>
                <c:pt idx="55">
                  <c:v>328.32926501460406</c:v>
                </c:pt>
                <c:pt idx="56">
                  <c:v>335.67922674740834</c:v>
                </c:pt>
                <c:pt idx="57">
                  <c:v>343.15789923146804</c:v>
                </c:pt>
                <c:pt idx="58">
                  <c:v>350.70658201499538</c:v>
                </c:pt>
                <c:pt idx="59">
                  <c:v>358.26423760304971</c:v>
                </c:pt>
                <c:pt idx="60">
                  <c:v>365.63034723974539</c:v>
                </c:pt>
                <c:pt idx="61">
                  <c:v>372.80304213218369</c:v>
                </c:pt>
                <c:pt idx="62">
                  <c:v>379.81673413194846</c:v>
                </c:pt>
                <c:pt idx="63">
                  <c:v>386.67415181827255</c:v>
                </c:pt>
                <c:pt idx="64">
                  <c:v>393.32245271337905</c:v>
                </c:pt>
                <c:pt idx="65">
                  <c:v>399.79658978272153</c:v>
                </c:pt>
                <c:pt idx="66">
                  <c:v>406.03781176238977</c:v>
                </c:pt>
                <c:pt idx="67">
                  <c:v>412.04383817016929</c:v>
                </c:pt>
                <c:pt idx="68">
                  <c:v>417.71116931892442</c:v>
                </c:pt>
                <c:pt idx="69">
                  <c:v>423.06648479273656</c:v>
                </c:pt>
                <c:pt idx="70">
                  <c:v>428.11658285667056</c:v>
                </c:pt>
                <c:pt idx="71">
                  <c:v>432.72742894218038</c:v>
                </c:pt>
                <c:pt idx="72">
                  <c:v>436.9635926092223</c:v>
                </c:pt>
                <c:pt idx="73">
                  <c:v>440.82439369934008</c:v>
                </c:pt>
                <c:pt idx="74">
                  <c:v>444.2500939893801</c:v>
                </c:pt>
                <c:pt idx="75">
                  <c:v>447.23870661165358</c:v>
                </c:pt>
                <c:pt idx="76">
                  <c:v>449.79043570420737</c:v>
                </c:pt>
                <c:pt idx="77">
                  <c:v>451.91078117983307</c:v>
                </c:pt>
                <c:pt idx="78">
                  <c:v>453.51283313266708</c:v>
                </c:pt>
                <c:pt idx="79">
                  <c:v>454.65404575994557</c:v>
                </c:pt>
                <c:pt idx="80">
                  <c:v>455.3335732704769</c:v>
                </c:pt>
                <c:pt idx="81">
                  <c:v>455.50976351559484</c:v>
                </c:pt>
                <c:pt idx="82">
                  <c:v>455.17438983504667</c:v>
                </c:pt>
                <c:pt idx="83">
                  <c:v>454.39610898332762</c:v>
                </c:pt>
                <c:pt idx="84">
                  <c:v>453.14463071849849</c:v>
                </c:pt>
                <c:pt idx="85">
                  <c:v>451.36306846500014</c:v>
                </c:pt>
                <c:pt idx="86">
                  <c:v>449.17206191108431</c:v>
                </c:pt>
                <c:pt idx="87">
                  <c:v>446.5480475566286</c:v>
                </c:pt>
                <c:pt idx="88">
                  <c:v>443.38521354271853</c:v>
                </c:pt>
                <c:pt idx="89">
                  <c:v>439.83194221335833</c:v>
                </c:pt>
                <c:pt idx="90">
                  <c:v>435.8944179758887</c:v>
                </c:pt>
                <c:pt idx="91">
                  <c:v>431.54772907816687</c:v>
                </c:pt>
                <c:pt idx="92">
                  <c:v>426.72975642441793</c:v>
                </c:pt>
                <c:pt idx="93">
                  <c:v>421.53593505235551</c:v>
                </c:pt>
                <c:pt idx="94">
                  <c:v>416.0108171064191</c:v>
                </c:pt>
                <c:pt idx="95">
                  <c:v>410.14188293422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29.22937091848738</c:v>
                </c:pt>
                <c:pt idx="43">
                  <c:v>237.80633768314704</c:v>
                </c:pt>
                <c:pt idx="44">
                  <c:v>246.76997311887163</c:v>
                </c:pt>
                <c:pt idx="45">
                  <c:v>255.84215085296256</c:v>
                </c:pt>
                <c:pt idx="46">
                  <c:v>264.76312716293899</c:v>
                </c:pt>
                <c:pt idx="47">
                  <c:v>273.6877504008923</c:v>
                </c:pt>
                <c:pt idx="48">
                  <c:v>282.91352808864599</c:v>
                </c:pt>
                <c:pt idx="49">
                  <c:v>292.54508903422652</c:v>
                </c:pt>
                <c:pt idx="50">
                  <c:v>302.54289746964048</c:v>
                </c:pt>
                <c:pt idx="51">
                  <c:v>313.21214315580221</c:v>
                </c:pt>
                <c:pt idx="52">
                  <c:v>324.16426098624794</c:v>
                </c:pt>
                <c:pt idx="53">
                  <c:v>334.69628977193531</c:v>
                </c:pt>
                <c:pt idx="54">
                  <c:v>345.20451731366342</c:v>
                </c:pt>
                <c:pt idx="55">
                  <c:v>355.97429169335646</c:v>
                </c:pt>
                <c:pt idx="56">
                  <c:v>367.07174823660478</c:v>
                </c:pt>
                <c:pt idx="57">
                  <c:v>378.48989857860522</c:v>
                </c:pt>
                <c:pt idx="58">
                  <c:v>390.16176179332052</c:v>
                </c:pt>
                <c:pt idx="59">
                  <c:v>402.01223425442049</c:v>
                </c:pt>
                <c:pt idx="60">
                  <c:v>413.83057103634121</c:v>
                </c:pt>
                <c:pt idx="61">
                  <c:v>425.59361869523264</c:v>
                </c:pt>
                <c:pt idx="62">
                  <c:v>437.31879441113858</c:v>
                </c:pt>
                <c:pt idx="63">
                  <c:v>448.98738143468387</c:v>
                </c:pt>
                <c:pt idx="64">
                  <c:v>460.52175926607038</c:v>
                </c:pt>
                <c:pt idx="65">
                  <c:v>471.93287214377381</c:v>
                </c:pt>
                <c:pt idx="66">
                  <c:v>483.14085448717486</c:v>
                </c:pt>
                <c:pt idx="67">
                  <c:v>494.11893752745482</c:v>
                </c:pt>
                <c:pt idx="68">
                  <c:v>504.74024751847082</c:v>
                </c:pt>
                <c:pt idx="69">
                  <c:v>515.00684280192115</c:v>
                </c:pt>
                <c:pt idx="70">
                  <c:v>524.89962806149742</c:v>
                </c:pt>
                <c:pt idx="71">
                  <c:v>534.25913913627721</c:v>
                </c:pt>
                <c:pt idx="72">
                  <c:v>543.12358992934435</c:v>
                </c:pt>
                <c:pt idx="73">
                  <c:v>551.46830613902682</c:v>
                </c:pt>
                <c:pt idx="74">
                  <c:v>559.20969394592385</c:v>
                </c:pt>
                <c:pt idx="75">
                  <c:v>566.32258127155717</c:v>
                </c:pt>
                <c:pt idx="76">
                  <c:v>572.78503579249571</c:v>
                </c:pt>
                <c:pt idx="77">
                  <c:v>578.58264186545989</c:v>
                </c:pt>
                <c:pt idx="78">
                  <c:v>583.60906623609367</c:v>
                </c:pt>
                <c:pt idx="79">
                  <c:v>587.90467928020882</c:v>
                </c:pt>
                <c:pt idx="80">
                  <c:v>591.4530946869678</c:v>
                </c:pt>
                <c:pt idx="81">
                  <c:v>594.19905033173109</c:v>
                </c:pt>
                <c:pt idx="82">
                  <c:v>596.12236022590685</c:v>
                </c:pt>
                <c:pt idx="83">
                  <c:v>597.28250999206819</c:v>
                </c:pt>
                <c:pt idx="84">
                  <c:v>597.6419903741247</c:v>
                </c:pt>
                <c:pt idx="85">
                  <c:v>597.13893598330264</c:v>
                </c:pt>
                <c:pt idx="86">
                  <c:v>595.8912562294754</c:v>
                </c:pt>
                <c:pt idx="87">
                  <c:v>593.87486399420266</c:v>
                </c:pt>
                <c:pt idx="88">
                  <c:v>590.98518556066347</c:v>
                </c:pt>
                <c:pt idx="89">
                  <c:v>587.37459489396542</c:v>
                </c:pt>
                <c:pt idx="90">
                  <c:v>583.05463173082342</c:v>
                </c:pt>
                <c:pt idx="91">
                  <c:v>578.0079084678523</c:v>
                </c:pt>
                <c:pt idx="92">
                  <c:v>572.17625166619177</c:v>
                </c:pt>
                <c:pt idx="93">
                  <c:v>565.66963098376266</c:v>
                </c:pt>
                <c:pt idx="94">
                  <c:v>558.54493405507606</c:v>
                </c:pt>
                <c:pt idx="95">
                  <c:v>550.8033314936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6</c:v>
                </c:pt>
                <c:pt idx="1">
                  <c:v>116</c:v>
                </c:pt>
                <c:pt idx="2">
                  <c:v>119</c:v>
                </c:pt>
                <c:pt idx="3">
                  <c:v>124</c:v>
                </c:pt>
                <c:pt idx="4">
                  <c:v>129</c:v>
                </c:pt>
                <c:pt idx="5">
                  <c:v>139</c:v>
                </c:pt>
                <c:pt idx="6">
                  <c:v>147</c:v>
                </c:pt>
                <c:pt idx="7">
                  <c:v>153</c:v>
                </c:pt>
                <c:pt idx="8">
                  <c:v>160</c:v>
                </c:pt>
                <c:pt idx="9">
                  <c:v>165</c:v>
                </c:pt>
                <c:pt idx="10">
                  <c:v>176</c:v>
                </c:pt>
                <c:pt idx="11">
                  <c:v>185</c:v>
                </c:pt>
                <c:pt idx="12">
                  <c:v>208</c:v>
                </c:pt>
                <c:pt idx="13">
                  <c:v>215</c:v>
                </c:pt>
                <c:pt idx="14">
                  <c:v>229</c:v>
                </c:pt>
                <c:pt idx="15">
                  <c:v>242</c:v>
                </c:pt>
                <c:pt idx="16">
                  <c:v>254</c:v>
                </c:pt>
                <c:pt idx="17">
                  <c:v>272</c:v>
                </c:pt>
                <c:pt idx="18">
                  <c:v>319</c:v>
                </c:pt>
                <c:pt idx="19">
                  <c:v>334</c:v>
                </c:pt>
                <c:pt idx="20">
                  <c:v>370</c:v>
                </c:pt>
                <c:pt idx="21">
                  <c:v>404</c:v>
                </c:pt>
                <c:pt idx="22">
                  <c:v>428</c:v>
                </c:pt>
                <c:pt idx="23">
                  <c:v>448</c:v>
                </c:pt>
                <c:pt idx="24">
                  <c:v>503</c:v>
                </c:pt>
                <c:pt idx="25">
                  <c:v>575</c:v>
                </c:pt>
                <c:pt idx="26">
                  <c:v>621</c:v>
                </c:pt>
                <c:pt idx="27">
                  <c:v>659</c:v>
                </c:pt>
                <c:pt idx="28">
                  <c:v>706</c:v>
                </c:pt>
                <c:pt idx="29">
                  <c:v>740</c:v>
                </c:pt>
                <c:pt idx="30">
                  <c:v>781</c:v>
                </c:pt>
                <c:pt idx="31">
                  <c:v>868</c:v>
                </c:pt>
                <c:pt idx="32">
                  <c:v>978</c:v>
                </c:pt>
                <c:pt idx="33">
                  <c:v>1063</c:v>
                </c:pt>
                <c:pt idx="34">
                  <c:v>1108</c:v>
                </c:pt>
                <c:pt idx="35">
                  <c:v>1173</c:v>
                </c:pt>
                <c:pt idx="36">
                  <c:v>1217</c:v>
                </c:pt>
                <c:pt idx="37">
                  <c:v>1261</c:v>
                </c:pt>
                <c:pt idx="38">
                  <c:v>1352</c:v>
                </c:pt>
                <c:pt idx="39">
                  <c:v>1435</c:v>
                </c:pt>
                <c:pt idx="40">
                  <c:v>1504</c:v>
                </c:pt>
                <c:pt idx="41">
                  <c:v>1584</c:v>
                </c:pt>
                <c:pt idx="42">
                  <c:v>1683</c:v>
                </c:pt>
                <c:pt idx="43">
                  <c:v>1742</c:v>
                </c:pt>
                <c:pt idx="44">
                  <c:v>1810</c:v>
                </c:pt>
                <c:pt idx="45">
                  <c:v>1912</c:v>
                </c:pt>
                <c:pt idx="46">
                  <c:v>2000</c:v>
                </c:pt>
                <c:pt idx="47">
                  <c:v>2072</c:v>
                </c:pt>
                <c:pt idx="48">
                  <c:v>2177</c:v>
                </c:pt>
                <c:pt idx="49">
                  <c:v>2256</c:v>
                </c:pt>
                <c:pt idx="50">
                  <c:v>2346</c:v>
                </c:pt>
                <c:pt idx="51">
                  <c:v>2442</c:v>
                </c:pt>
                <c:pt idx="52">
                  <c:v>2556</c:v>
                </c:pt>
                <c:pt idx="53">
                  <c:v>2660</c:v>
                </c:pt>
                <c:pt idx="54">
                  <c:v>2782</c:v>
                </c:pt>
                <c:pt idx="55">
                  <c:v>2872</c:v>
                </c:pt>
                <c:pt idx="56">
                  <c:v>2983</c:v>
                </c:pt>
                <c:pt idx="57">
                  <c:v>3082</c:v>
                </c:pt>
                <c:pt idx="58">
                  <c:v>3157</c:v>
                </c:pt>
                <c:pt idx="59">
                  <c:v>3260</c:v>
                </c:pt>
                <c:pt idx="60">
                  <c:v>3374</c:v>
                </c:pt>
                <c:pt idx="61">
                  <c:v>3487</c:v>
                </c:pt>
                <c:pt idx="62">
                  <c:v>3600</c:v>
                </c:pt>
                <c:pt idx="63">
                  <c:v>3697</c:v>
                </c:pt>
                <c:pt idx="64">
                  <c:v>3766</c:v>
                </c:pt>
                <c:pt idx="65">
                  <c:v>3824</c:v>
                </c:pt>
                <c:pt idx="66">
                  <c:v>3934</c:v>
                </c:pt>
                <c:pt idx="67">
                  <c:v>4035</c:v>
                </c:pt>
                <c:pt idx="68">
                  <c:v>4147</c:v>
                </c:pt>
                <c:pt idx="69">
                  <c:v>4228</c:v>
                </c:pt>
                <c:pt idx="70">
                  <c:v>4327</c:v>
                </c:pt>
                <c:pt idx="71">
                  <c:v>4387</c:v>
                </c:pt>
                <c:pt idx="72">
                  <c:v>4440</c:v>
                </c:pt>
                <c:pt idx="73">
                  <c:v>4500</c:v>
                </c:pt>
                <c:pt idx="74">
                  <c:v>4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21.9771482167598</c:v>
                </c:pt>
                <c:pt idx="43">
                  <c:v>1691.3620875937445</c:v>
                </c:pt>
                <c:pt idx="44">
                  <c:v>1762.1834217219816</c:v>
                </c:pt>
                <c:pt idx="45">
                  <c:v>1834.7412916464664</c:v>
                </c:pt>
                <c:pt idx="46">
                  <c:v>1909.1177831285615</c:v>
                </c:pt>
                <c:pt idx="47">
                  <c:v>1984.9203655328422</c:v>
                </c:pt>
                <c:pt idx="48">
                  <c:v>2062.1493880617577</c:v>
                </c:pt>
                <c:pt idx="49">
                  <c:v>2140.5180365825513</c:v>
                </c:pt>
                <c:pt idx="50">
                  <c:v>2219.8784477916979</c:v>
                </c:pt>
                <c:pt idx="51">
                  <c:v>2300.3980124528948</c:v>
                </c:pt>
                <c:pt idx="52">
                  <c:v>2381.8272745259483</c:v>
                </c:pt>
                <c:pt idx="53">
                  <c:v>2464.1272293015854</c:v>
                </c:pt>
                <c:pt idx="54">
                  <c:v>2547.5126388504436</c:v>
                </c:pt>
                <c:pt idx="55">
                  <c:v>2631.6804698759624</c:v>
                </c:pt>
                <c:pt idx="56">
                  <c:v>2716.5295282464176</c:v>
                </c:pt>
                <c:pt idx="57">
                  <c:v>2802.1343146972881</c:v>
                </c:pt>
                <c:pt idx="58">
                  <c:v>2888.3570947711632</c:v>
                </c:pt>
                <c:pt idx="59">
                  <c:v>2975.0842611127182</c:v>
                </c:pt>
                <c:pt idx="60">
                  <c:v>3062.332702956197</c:v>
                </c:pt>
                <c:pt idx="61">
                  <c:v>3150.0670287016801</c:v>
                </c:pt>
                <c:pt idx="62">
                  <c:v>3238.1486749957789</c:v>
                </c:pt>
                <c:pt idx="63">
                  <c:v>3326.4846647660638</c:v>
                </c:pt>
                <c:pt idx="64">
                  <c:v>3415.0704723030763</c:v>
                </c:pt>
                <c:pt idx="65">
                  <c:v>3503.7388781810164</c:v>
                </c:pt>
                <c:pt idx="66">
                  <c:v>3592.4388475501464</c:v>
                </c:pt>
                <c:pt idx="67">
                  <c:v>3681.2100536427038</c:v>
                </c:pt>
                <c:pt idx="68">
                  <c:v>3769.8627927792108</c:v>
                </c:pt>
                <c:pt idx="69">
                  <c:v>3858.3538750564476</c:v>
                </c:pt>
                <c:pt idx="70">
                  <c:v>3946.6080506728808</c:v>
                </c:pt>
                <c:pt idx="71">
                  <c:v>4034.550418566319</c:v>
                </c:pt>
                <c:pt idx="72">
                  <c:v>4122.108157651317</c:v>
                </c:pt>
                <c:pt idx="73">
                  <c:v>4209.2105049839574</c:v>
                </c:pt>
                <c:pt idx="74">
                  <c:v>4295.7881825171717</c:v>
                </c:pt>
                <c:pt idx="75">
                  <c:v>4381.7734342560452</c:v>
                </c:pt>
                <c:pt idx="76">
                  <c:v>4467.1002537410359</c:v>
                </c:pt>
                <c:pt idx="77">
                  <c:v>4551.7045876570464</c:v>
                </c:pt>
                <c:pt idx="78">
                  <c:v>4635.5246824560454</c:v>
                </c:pt>
                <c:pt idx="79">
                  <c:v>4718.5012885433689</c:v>
                </c:pt>
                <c:pt idx="80">
                  <c:v>4800.5777544008333</c:v>
                </c:pt>
                <c:pt idx="81">
                  <c:v>4881.7001183350112</c:v>
                </c:pt>
                <c:pt idx="82">
                  <c:v>4961.8171722323896</c:v>
                </c:pt>
                <c:pt idx="83">
                  <c:v>5040.8805038840874</c:v>
                </c:pt>
                <c:pt idx="84">
                  <c:v>5118.8445787334695</c:v>
                </c:pt>
                <c:pt idx="85">
                  <c:v>5195.6668067674827</c:v>
                </c:pt>
                <c:pt idx="86">
                  <c:v>5271.3075723902857</c:v>
                </c:pt>
                <c:pt idx="87">
                  <c:v>5345.7302685328987</c:v>
                </c:pt>
                <c:pt idx="88">
                  <c:v>5418.901324912862</c:v>
                </c:pt>
                <c:pt idx="89">
                  <c:v>5490.7901971958354</c:v>
                </c:pt>
                <c:pt idx="90">
                  <c:v>5561.3693387535786</c:v>
                </c:pt>
                <c:pt idx="91">
                  <c:v>5630.6141948887143</c:v>
                </c:pt>
                <c:pt idx="92">
                  <c:v>5698.5031698643133</c:v>
                </c:pt>
                <c:pt idx="93">
                  <c:v>5765.0175739810375</c:v>
                </c:pt>
                <c:pt idx="94">
                  <c:v>5830.1415800761815</c:v>
                </c:pt>
                <c:pt idx="95">
                  <c:v>5893.8621636470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23.3703497347731</c:v>
                </c:pt>
                <c:pt idx="43">
                  <c:v>1694.7063104424501</c:v>
                </c:pt>
                <c:pt idx="44">
                  <c:v>1768.1023519742582</c:v>
                </c:pt>
                <c:pt idx="45">
                  <c:v>1843.9220980696364</c:v>
                </c:pt>
                <c:pt idx="46">
                  <c:v>1922.308928087491</c:v>
                </c:pt>
                <c:pt idx="47">
                  <c:v>2002.9282942081793</c:v>
                </c:pt>
                <c:pt idx="48">
                  <c:v>2085.8308514013816</c:v>
                </c:pt>
                <c:pt idx="49">
                  <c:v>2170.7745818593621</c:v>
                </c:pt>
                <c:pt idx="50">
                  <c:v>2257.6503173889587</c:v>
                </c:pt>
                <c:pt idx="51">
                  <c:v>2346.6588761978892</c:v>
                </c:pt>
                <c:pt idx="52">
                  <c:v>2437.5806777948687</c:v>
                </c:pt>
                <c:pt idx="53">
                  <c:v>2530.4012901873111</c:v>
                </c:pt>
                <c:pt idx="54">
                  <c:v>2625.3554007155799</c:v>
                </c:pt>
                <c:pt idx="55">
                  <c:v>2722.1554548402582</c:v>
                </c:pt>
                <c:pt idx="56">
                  <c:v>2820.7109634332719</c:v>
                </c:pt>
                <c:pt idx="57">
                  <c:v>2921.1022035901533</c:v>
                </c:pt>
                <c:pt idx="58">
                  <c:v>3023.1931186210959</c:v>
                </c:pt>
                <c:pt idx="59">
                  <c:v>3126.8675223283258</c:v>
                </c:pt>
                <c:pt idx="60">
                  <c:v>3232.1346148633838</c:v>
                </c:pt>
                <c:pt idx="61">
                  <c:v>3338.9463450179846</c:v>
                </c:pt>
                <c:pt idx="62">
                  <c:v>3447.1470358419238</c:v>
                </c:pt>
                <c:pt idx="63">
                  <c:v>3556.6216521411397</c:v>
                </c:pt>
                <c:pt idx="64">
                  <c:v>3667.3388474849507</c:v>
                </c:pt>
                <c:pt idx="65">
                  <c:v>3779.1017298918441</c:v>
                </c:pt>
                <c:pt idx="66">
                  <c:v>3891.8262284464549</c:v>
                </c:pt>
                <c:pt idx="67">
                  <c:v>4005.5143064081876</c:v>
                </c:pt>
                <c:pt idx="68">
                  <c:v>4119.9348105287863</c:v>
                </c:pt>
                <c:pt idx="69">
                  <c:v>4234.9991148881636</c:v>
                </c:pt>
                <c:pt idx="70">
                  <c:v>4350.5831269415803</c:v>
                </c:pt>
                <c:pt idx="71">
                  <c:v>4466.5600408329456</c:v>
                </c:pt>
                <c:pt idx="72">
                  <c:v>4582.8029901871323</c:v>
                </c:pt>
                <c:pt idx="73">
                  <c:v>4699.1852546384816</c:v>
                </c:pt>
                <c:pt idx="74">
                  <c:v>4815.5797064009184</c:v>
                </c:pt>
                <c:pt idx="75">
                  <c:v>4931.8591298294359</c:v>
                </c:pt>
                <c:pt idx="76">
                  <c:v>5047.8968137785778</c:v>
                </c:pt>
                <c:pt idx="77">
                  <c:v>5163.5671115843461</c:v>
                </c:pt>
                <c:pt idx="78">
                  <c:v>5278.7462104938768</c:v>
                </c:pt>
                <c:pt idx="79">
                  <c:v>5393.3127021086393</c:v>
                </c:pt>
                <c:pt idx="80">
                  <c:v>5507.1479963087422</c:v>
                </c:pt>
                <c:pt idx="81">
                  <c:v>5620.1367260796032</c:v>
                </c:pt>
                <c:pt idx="82">
                  <c:v>5732.1671091024373</c:v>
                </c:pt>
                <c:pt idx="83">
                  <c:v>5843.1312715940849</c:v>
                </c:pt>
                <c:pt idx="84">
                  <c:v>5952.925611686037</c:v>
                </c:pt>
                <c:pt idx="85">
                  <c:v>6061.4511293981759</c:v>
                </c:pt>
                <c:pt idx="86">
                  <c:v>6168.6136910704508</c:v>
                </c:pt>
                <c:pt idx="87">
                  <c:v>6274.3242812447152</c:v>
                </c:pt>
                <c:pt idx="88">
                  <c:v>6378.4992292075931</c:v>
                </c:pt>
                <c:pt idx="89">
                  <c:v>6481.0603632578786</c:v>
                </c:pt>
                <c:pt idx="90">
                  <c:v>6581.935120450752</c:v>
                </c:pt>
                <c:pt idx="91">
                  <c:v>6681.0566677469251</c:v>
                </c:pt>
                <c:pt idx="92">
                  <c:v>6778.3639655670104</c:v>
                </c:pt>
                <c:pt idx="93">
                  <c:v>6873.801784218741</c:v>
                </c:pt>
                <c:pt idx="94">
                  <c:v>6967.3207137519466</c:v>
                </c:pt>
                <c:pt idx="95">
                  <c:v>7058.8771332399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24.772437374912</c:v>
                </c:pt>
                <c:pt idx="43">
                  <c:v>1698.0826046272186</c:v>
                </c:pt>
                <c:pt idx="44">
                  <c:v>1774.1003662072644</c:v>
                </c:pt>
                <c:pt idx="45">
                  <c:v>1853.2642311952427</c:v>
                </c:pt>
                <c:pt idx="46">
                  <c:v>1935.7919378647612</c:v>
                </c:pt>
                <c:pt idx="47">
                  <c:v>2021.4214872365451</c:v>
                </c:pt>
                <c:pt idx="48">
                  <c:v>2110.2697505750966</c:v>
                </c:pt>
                <c:pt idx="49">
                  <c:v>2202.1565730486705</c:v>
                </c:pt>
                <c:pt idx="50">
                  <c:v>2297.0294318990227</c:v>
                </c:pt>
                <c:pt idx="51">
                  <c:v>2395.1411794520245</c:v>
                </c:pt>
                <c:pt idx="52">
                  <c:v>2496.321084167098</c:v>
                </c:pt>
                <c:pt idx="53">
                  <c:v>2600.5982600785551</c:v>
                </c:pt>
                <c:pt idx="54">
                  <c:v>2708.2460047669015</c:v>
                </c:pt>
                <c:pt idx="55">
                  <c:v>2819.0103122573651</c:v>
                </c:pt>
                <c:pt idx="56">
                  <c:v>2932.8286489495913</c:v>
                </c:pt>
                <c:pt idx="57">
                  <c:v>3049.8031032617309</c:v>
                </c:pt>
                <c:pt idx="58">
                  <c:v>3169.813938513661</c:v>
                </c:pt>
                <c:pt idx="59">
                  <c:v>3292.7553579538353</c:v>
                </c:pt>
                <c:pt idx="60">
                  <c:v>3418.6397099295959</c:v>
                </c:pt>
                <c:pt idx="61">
                  <c:v>3547.4147534708604</c:v>
                </c:pt>
                <c:pt idx="62">
                  <c:v>3678.91353796367</c:v>
                </c:pt>
                <c:pt idx="63">
                  <c:v>3813.0020466199599</c:v>
                </c:pt>
                <c:pt idx="64">
                  <c:v>3949.6222482018916</c:v>
                </c:pt>
                <c:pt idx="65">
                  <c:v>4088.5449372680287</c:v>
                </c:pt>
                <c:pt idx="66">
                  <c:v>4229.647502363905</c:v>
                </c:pt>
                <c:pt idx="67">
                  <c:v>4372.8854259731161</c:v>
                </c:pt>
                <c:pt idx="68">
                  <c:v>4517.9741469998426</c:v>
                </c:pt>
                <c:pt idx="69">
                  <c:v>4664.7645141966868</c:v>
                </c:pt>
                <c:pt idx="70">
                  <c:v>4813.0655171667549</c:v>
                </c:pt>
                <c:pt idx="71">
                  <c:v>4962.677529422519</c:v>
                </c:pt>
                <c:pt idx="72">
                  <c:v>5113.3962037601286</c:v>
                </c:pt>
                <c:pt idx="73">
                  <c:v>5265.0131063224489</c:v>
                </c:pt>
                <c:pt idx="74">
                  <c:v>5417.3153698005954</c:v>
                </c:pt>
                <c:pt idx="75">
                  <c:v>5570.0865730082678</c:v>
                </c:pt>
                <c:pt idx="76">
                  <c:v>5723.1080192391182</c:v>
                </c:pt>
                <c:pt idx="77">
                  <c:v>5876.1599902533717</c:v>
                </c:pt>
                <c:pt idx="78">
                  <c:v>6029.023305958046</c:v>
                </c:pt>
                <c:pt idx="79">
                  <c:v>6181.4806236787526</c:v>
                </c:pt>
                <c:pt idx="80">
                  <c:v>6333.317528806755</c:v>
                </c:pt>
                <c:pt idx="81">
                  <c:v>6484.3236068142905</c:v>
                </c:pt>
                <c:pt idx="82">
                  <c:v>6634.2934469577431</c:v>
                </c:pt>
                <c:pt idx="83">
                  <c:v>6783.0275771144998</c:v>
                </c:pt>
                <c:pt idx="84">
                  <c:v>6930.3334225236858</c:v>
                </c:pt>
                <c:pt idx="85">
                  <c:v>7076.0261889487783</c:v>
                </c:pt>
                <c:pt idx="86">
                  <c:v>7219.929622816584</c:v>
                </c:pt>
                <c:pt idx="87">
                  <c:v>7361.8767126099683</c:v>
                </c:pt>
                <c:pt idx="88">
                  <c:v>7501.7103136851892</c:v>
                </c:pt>
                <c:pt idx="89">
                  <c:v>7639.2836312567815</c:v>
                </c:pt>
                <c:pt idx="90">
                  <c:v>7774.4605958284756</c:v>
                </c:pt>
                <c:pt idx="91">
                  <c:v>7907.1162066786173</c:v>
                </c:pt>
                <c:pt idx="92">
                  <c:v>8037.1367510332739</c:v>
                </c:pt>
                <c:pt idx="93">
                  <c:v>8164.4199143955921</c:v>
                </c:pt>
                <c:pt idx="94">
                  <c:v>8288.8748376948079</c:v>
                </c:pt>
                <c:pt idx="95">
                  <c:v>8410.4220789999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</c:v>
                </c:pt>
                <c:pt idx="1">
                  <c:v>21</c:v>
                </c:pt>
                <c:pt idx="2">
                  <c:v>23</c:v>
                </c:pt>
                <c:pt idx="3">
                  <c:v>26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33</c:v>
                </c:pt>
                <c:pt idx="8">
                  <c:v>30</c:v>
                </c:pt>
                <c:pt idx="9">
                  <c:v>35</c:v>
                </c:pt>
                <c:pt idx="10">
                  <c:v>36</c:v>
                </c:pt>
                <c:pt idx="11">
                  <c:v>35</c:v>
                </c:pt>
                <c:pt idx="12">
                  <c:v>37</c:v>
                </c:pt>
                <c:pt idx="13">
                  <c:v>38</c:v>
                </c:pt>
                <c:pt idx="14">
                  <c:v>47</c:v>
                </c:pt>
                <c:pt idx="15">
                  <c:v>51</c:v>
                </c:pt>
                <c:pt idx="16">
                  <c:v>63</c:v>
                </c:pt>
                <c:pt idx="17">
                  <c:v>76</c:v>
                </c:pt>
                <c:pt idx="18">
                  <c:v>77</c:v>
                </c:pt>
                <c:pt idx="19">
                  <c:v>83</c:v>
                </c:pt>
                <c:pt idx="20">
                  <c:v>82</c:v>
                </c:pt>
                <c:pt idx="21">
                  <c:v>82</c:v>
                </c:pt>
                <c:pt idx="22">
                  <c:v>84</c:v>
                </c:pt>
                <c:pt idx="23">
                  <c:v>93</c:v>
                </c:pt>
                <c:pt idx="24">
                  <c:v>109</c:v>
                </c:pt>
                <c:pt idx="25">
                  <c:v>100</c:v>
                </c:pt>
                <c:pt idx="26">
                  <c:v>107</c:v>
                </c:pt>
                <c:pt idx="27">
                  <c:v>108</c:v>
                </c:pt>
                <c:pt idx="28">
                  <c:v>114</c:v>
                </c:pt>
                <c:pt idx="29">
                  <c:v>128</c:v>
                </c:pt>
                <c:pt idx="30">
                  <c:v>142</c:v>
                </c:pt>
                <c:pt idx="31">
                  <c:v>154</c:v>
                </c:pt>
                <c:pt idx="32">
                  <c:v>158</c:v>
                </c:pt>
                <c:pt idx="33">
                  <c:v>164</c:v>
                </c:pt>
                <c:pt idx="34">
                  <c:v>194</c:v>
                </c:pt>
                <c:pt idx="35">
                  <c:v>198</c:v>
                </c:pt>
                <c:pt idx="36">
                  <c:v>196</c:v>
                </c:pt>
                <c:pt idx="37">
                  <c:v>195</c:v>
                </c:pt>
                <c:pt idx="38">
                  <c:v>224</c:v>
                </c:pt>
                <c:pt idx="39">
                  <c:v>259</c:v>
                </c:pt>
                <c:pt idx="40">
                  <c:v>258</c:v>
                </c:pt>
                <c:pt idx="41">
                  <c:v>271</c:v>
                </c:pt>
                <c:pt idx="42">
                  <c:v>284</c:v>
                </c:pt>
                <c:pt idx="43">
                  <c:v>271</c:v>
                </c:pt>
                <c:pt idx="44">
                  <c:v>272</c:v>
                </c:pt>
                <c:pt idx="45">
                  <c:v>310</c:v>
                </c:pt>
                <c:pt idx="46">
                  <c:v>315</c:v>
                </c:pt>
                <c:pt idx="47">
                  <c:v>324</c:v>
                </c:pt>
                <c:pt idx="48">
                  <c:v>353</c:v>
                </c:pt>
                <c:pt idx="49">
                  <c:v>357</c:v>
                </c:pt>
                <c:pt idx="50">
                  <c:v>362</c:v>
                </c:pt>
                <c:pt idx="51">
                  <c:v>382</c:v>
                </c:pt>
                <c:pt idx="52">
                  <c:v>414</c:v>
                </c:pt>
                <c:pt idx="53">
                  <c:v>402</c:v>
                </c:pt>
                <c:pt idx="54">
                  <c:v>384</c:v>
                </c:pt>
                <c:pt idx="55">
                  <c:v>403</c:v>
                </c:pt>
                <c:pt idx="56">
                  <c:v>424</c:v>
                </c:pt>
                <c:pt idx="57">
                  <c:v>423</c:v>
                </c:pt>
                <c:pt idx="58">
                  <c:v>434</c:v>
                </c:pt>
                <c:pt idx="59">
                  <c:v>461</c:v>
                </c:pt>
                <c:pt idx="60">
                  <c:v>467</c:v>
                </c:pt>
                <c:pt idx="61">
                  <c:v>471</c:v>
                </c:pt>
                <c:pt idx="62">
                  <c:v>477</c:v>
                </c:pt>
                <c:pt idx="63">
                  <c:v>481</c:v>
                </c:pt>
                <c:pt idx="64">
                  <c:v>436</c:v>
                </c:pt>
                <c:pt idx="65">
                  <c:v>441</c:v>
                </c:pt>
                <c:pt idx="66">
                  <c:v>446</c:v>
                </c:pt>
                <c:pt idx="67">
                  <c:v>439</c:v>
                </c:pt>
                <c:pt idx="68">
                  <c:v>426</c:v>
                </c:pt>
                <c:pt idx="69">
                  <c:v>414</c:v>
                </c:pt>
                <c:pt idx="70">
                  <c:v>454</c:v>
                </c:pt>
                <c:pt idx="71">
                  <c:v>388</c:v>
                </c:pt>
                <c:pt idx="72">
                  <c:v>399</c:v>
                </c:pt>
                <c:pt idx="73">
                  <c:v>446</c:v>
                </c:pt>
                <c:pt idx="74">
                  <c:v>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6.04370825096902</c:v>
                </c:pt>
                <c:pt idx="43">
                  <c:v>264.50156368863526</c:v>
                </c:pt>
                <c:pt idx="44">
                  <c:v>272.93444881103744</c:v>
                </c:pt>
                <c:pt idx="45">
                  <c:v>281.0349796521474</c:v>
                </c:pt>
                <c:pt idx="46">
                  <c:v>288.51826157061964</c:v>
                </c:pt>
                <c:pt idx="47">
                  <c:v>295.5116440383245</c:v>
                </c:pt>
                <c:pt idx="48">
                  <c:v>302.27973467461157</c:v>
                </c:pt>
                <c:pt idx="49">
                  <c:v>308.95063653206375</c:v>
                </c:pt>
                <c:pt idx="50">
                  <c:v>315.49297598401529</c:v>
                </c:pt>
                <c:pt idx="51">
                  <c:v>322.23372079361462</c:v>
                </c:pt>
                <c:pt idx="52">
                  <c:v>328.7430510552914</c:v>
                </c:pt>
                <c:pt idx="53">
                  <c:v>334.28866897586306</c:v>
                </c:pt>
                <c:pt idx="54">
                  <c:v>339.33252468342152</c:v>
                </c:pt>
                <c:pt idx="55">
                  <c:v>344.17042154510409</c:v>
                </c:pt>
                <c:pt idx="56">
                  <c:v>348.90790704525324</c:v>
                </c:pt>
                <c:pt idx="57">
                  <c:v>353.58344386466916</c:v>
                </c:pt>
                <c:pt idx="58">
                  <c:v>358.17739121660145</c:v>
                </c:pt>
                <c:pt idx="59">
                  <c:v>362.6343951986745</c:v>
                </c:pt>
                <c:pt idx="60">
                  <c:v>366.72094328473889</c:v>
                </c:pt>
                <c:pt idx="61">
                  <c:v>370.49211395164991</c:v>
                </c:pt>
                <c:pt idx="62">
                  <c:v>373.9886977877274</c:v>
                </c:pt>
                <c:pt idx="63">
                  <c:v>377.23667952459903</c:v>
                </c:pt>
                <c:pt idx="64">
                  <c:v>380.20433024617785</c:v>
                </c:pt>
                <c:pt idx="65">
                  <c:v>382.95104182508885</c:v>
                </c:pt>
                <c:pt idx="66">
                  <c:v>385.42948493580923</c:v>
                </c:pt>
                <c:pt idx="67">
                  <c:v>387.64843443026575</c:v>
                </c:pt>
                <c:pt idx="68">
                  <c:v>389.52188954454482</c:v>
                </c:pt>
                <c:pt idx="69">
                  <c:v>391.087044233423</c:v>
                </c:pt>
                <c:pt idx="70">
                  <c:v>392.38481462657739</c:v>
                </c:pt>
                <c:pt idx="71">
                  <c:v>393.28237302836487</c:v>
                </c:pt>
                <c:pt idx="72">
                  <c:v>393.8740399062707</c:v>
                </c:pt>
                <c:pt idx="73">
                  <c:v>394.16951487397591</c:v>
                </c:pt>
                <c:pt idx="74">
                  <c:v>394.1081110461372</c:v>
                </c:pt>
                <c:pt idx="75">
                  <c:v>393.71396255181492</c:v>
                </c:pt>
                <c:pt idx="76">
                  <c:v>392.99532912222787</c:v>
                </c:pt>
                <c:pt idx="77">
                  <c:v>391.98450739898476</c:v>
                </c:pt>
                <c:pt idx="78">
                  <c:v>390.58725234288102</c:v>
                </c:pt>
                <c:pt idx="79">
                  <c:v>388.88951957731518</c:v>
                </c:pt>
                <c:pt idx="80">
                  <c:v>386.88815331703086</c:v>
                </c:pt>
                <c:pt idx="81">
                  <c:v>384.53111637328118</c:v>
                </c:pt>
                <c:pt idx="82">
                  <c:v>381.83741629498786</c:v>
                </c:pt>
                <c:pt idx="83">
                  <c:v>378.88467806715948</c:v>
                </c:pt>
                <c:pt idx="84">
                  <c:v>375.64510310076025</c:v>
                </c:pt>
                <c:pt idx="85">
                  <c:v>372.06461560681464</c:v>
                </c:pt>
                <c:pt idx="86">
                  <c:v>368.28279083141649</c:v>
                </c:pt>
                <c:pt idx="87">
                  <c:v>364.26727483601314</c:v>
                </c:pt>
                <c:pt idx="88">
                  <c:v>359.86710454509119</c:v>
                </c:pt>
                <c:pt idx="89">
                  <c:v>355.27936894255453</c:v>
                </c:pt>
                <c:pt idx="90">
                  <c:v>350.50596479957574</c:v>
                </c:pt>
                <c:pt idx="91">
                  <c:v>345.51129813124646</c:v>
                </c:pt>
                <c:pt idx="92">
                  <c:v>340.23100852817538</c:v>
                </c:pt>
                <c:pt idx="93">
                  <c:v>334.75885121806567</c:v>
                </c:pt>
                <c:pt idx="94">
                  <c:v>329.13461202692673</c:v>
                </c:pt>
                <c:pt idx="95">
                  <c:v>323.339348892100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6.644659998419</c:v>
                </c:pt>
                <c:pt idx="43">
                  <c:v>265.91912381787824</c:v>
                </c:pt>
                <c:pt idx="44">
                  <c:v>275.39909147550406</c:v>
                </c:pt>
                <c:pt idx="45">
                  <c:v>284.7828808801969</c:v>
                </c:pt>
                <c:pt idx="46">
                  <c:v>293.79747136918638</c:v>
                </c:pt>
                <c:pt idx="47">
                  <c:v>302.56905677517022</c:v>
                </c:pt>
                <c:pt idx="48">
                  <c:v>311.36552492741032</c:v>
                </c:pt>
                <c:pt idx="49">
                  <c:v>320.30891390444174</c:v>
                </c:pt>
                <c:pt idx="50">
                  <c:v>329.36662964130238</c:v>
                </c:pt>
                <c:pt idx="51">
                  <c:v>338.85765956395977</c:v>
                </c:pt>
                <c:pt idx="52">
                  <c:v>348.34753458567229</c:v>
                </c:pt>
                <c:pt idx="53">
                  <c:v>357.09459739626243</c:v>
                </c:pt>
                <c:pt idx="54">
                  <c:v>365.55308381032825</c:v>
                </c:pt>
                <c:pt idx="55">
                  <c:v>374.00542589597234</c:v>
                </c:pt>
                <c:pt idx="56">
                  <c:v>382.53846943292751</c:v>
                </c:pt>
                <c:pt idx="57">
                  <c:v>391.15676954652372</c:v>
                </c:pt>
                <c:pt idx="58">
                  <c:v>399.82975088891106</c:v>
                </c:pt>
                <c:pt idx="59">
                  <c:v>408.48549156460848</c:v>
                </c:pt>
                <c:pt idx="60">
                  <c:v>416.87908869625142</c:v>
                </c:pt>
                <c:pt idx="61">
                  <c:v>425.0432159456218</c:v>
                </c:pt>
                <c:pt idx="62">
                  <c:v>433.00199262016201</c:v>
                </c:pt>
                <c:pt idx="63">
                  <c:v>440.76173952754289</c:v>
                </c:pt>
                <c:pt idx="64">
                  <c:v>448.26671389680484</c:v>
                </c:pt>
                <c:pt idx="65">
                  <c:v>455.55562439289099</c:v>
                </c:pt>
                <c:pt idx="66">
                  <c:v>462.56414437521425</c:v>
                </c:pt>
                <c:pt idx="67">
                  <c:v>469.28133322839426</c:v>
                </c:pt>
                <c:pt idx="68">
                  <c:v>475.60360090138863</c:v>
                </c:pt>
                <c:pt idx="69">
                  <c:v>481.54980968944318</c:v>
                </c:pt>
                <c:pt idx="70">
                  <c:v>487.14186829110758</c:v>
                </c:pt>
                <c:pt idx="71">
                  <c:v>492.22876634285672</c:v>
                </c:pt>
                <c:pt idx="72">
                  <c:v>496.88615291690519</c:v>
                </c:pt>
                <c:pt idx="73">
                  <c:v>501.10740826538699</c:v>
                </c:pt>
                <c:pt idx="74">
                  <c:v>504.81648032488113</c:v>
                </c:pt>
                <c:pt idx="75">
                  <c:v>508.0225362901466</c:v>
                </c:pt>
                <c:pt idx="76">
                  <c:v>510.71982993327998</c:v>
                </c:pt>
                <c:pt idx="77">
                  <c:v>512.92867621402593</c:v>
                </c:pt>
                <c:pt idx="78">
                  <c:v>514.54283613600683</c:v>
                </c:pt>
                <c:pt idx="79">
                  <c:v>515.63843411222899</c:v>
                </c:pt>
                <c:pt idx="80">
                  <c:v>516.20337606196608</c:v>
                </c:pt>
                <c:pt idx="81">
                  <c:v>516.17798097499349</c:v>
                </c:pt>
                <c:pt idx="82">
                  <c:v>515.57437684237027</c:v>
                </c:pt>
                <c:pt idx="83">
                  <c:v>514.46556757460485</c:v>
                </c:pt>
                <c:pt idx="84">
                  <c:v>512.82012868562174</c:v>
                </c:pt>
                <c:pt idx="85">
                  <c:v>510.58170713635138</c:v>
                </c:pt>
                <c:pt idx="86">
                  <c:v>507.88893246623434</c:v>
                </c:pt>
                <c:pt idx="87">
                  <c:v>504.70978219054564</c:v>
                </c:pt>
                <c:pt idx="88">
                  <c:v>500.89429707964155</c:v>
                </c:pt>
                <c:pt idx="89">
                  <c:v>496.64267887992054</c:v>
                </c:pt>
                <c:pt idx="90">
                  <c:v>491.96014985729079</c:v>
                </c:pt>
                <c:pt idx="91">
                  <c:v>486.81587368432724</c:v>
                </c:pt>
                <c:pt idx="92">
                  <c:v>481.14371494464183</c:v>
                </c:pt>
                <c:pt idx="93">
                  <c:v>475.04918209454939</c:v>
                </c:pt>
                <c:pt idx="94">
                  <c:v>468.57945932873622</c:v>
                </c:pt>
                <c:pt idx="95">
                  <c:v>461.72379908730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7.24943318930792</c:v>
                </c:pt>
                <c:pt idx="43">
                  <c:v>267.35032952288822</c:v>
                </c:pt>
                <c:pt idx="44">
                  <c:v>277.89703908587836</c:v>
                </c:pt>
                <c:pt idx="45">
                  <c:v>288.59797780838539</c:v>
                </c:pt>
                <c:pt idx="46">
                  <c:v>299.19686079316131</c:v>
                </c:pt>
                <c:pt idx="47">
                  <c:v>309.82386725497469</c:v>
                </c:pt>
                <c:pt idx="48">
                  <c:v>320.75553005766562</c:v>
                </c:pt>
                <c:pt idx="49">
                  <c:v>332.11324489231413</c:v>
                </c:pt>
                <c:pt idx="50">
                  <c:v>343.86858429372421</c:v>
                </c:pt>
                <c:pt idx="51">
                  <c:v>356.33776273011046</c:v>
                </c:pt>
                <c:pt idx="52">
                  <c:v>369.08659929089225</c:v>
                </c:pt>
                <c:pt idx="53">
                  <c:v>381.36857777738044</c:v>
                </c:pt>
                <c:pt idx="54">
                  <c:v>393.63420943743097</c:v>
                </c:pt>
                <c:pt idx="55">
                  <c:v>406.15590288535429</c:v>
                </c:pt>
                <c:pt idx="56">
                  <c:v>419.00443881171458</c:v>
                </c:pt>
                <c:pt idx="57">
                  <c:v>432.15216342008046</c:v>
                </c:pt>
                <c:pt idx="58">
                  <c:v>445.5584253020827</c:v>
                </c:pt>
                <c:pt idx="59">
                  <c:v>459.13462664180577</c:v>
                </c:pt>
                <c:pt idx="60">
                  <c:v>472.62332876137987</c:v>
                </c:pt>
                <c:pt idx="61">
                  <c:v>486.03254075163125</c:v>
                </c:pt>
                <c:pt idx="62">
                  <c:v>499.36636025649921</c:v>
                </c:pt>
                <c:pt idx="63">
                  <c:v>512.607012229764</c:v>
                </c:pt>
                <c:pt idx="64">
                  <c:v>525.66922333385105</c:v>
                </c:pt>
                <c:pt idx="65">
                  <c:v>538.5645916529927</c:v>
                </c:pt>
                <c:pt idx="66">
                  <c:v>551.20451999232409</c:v>
                </c:pt>
                <c:pt idx="67">
                  <c:v>563.55013307785498</c:v>
                </c:pt>
                <c:pt idx="68">
                  <c:v>575.47122696676911</c:v>
                </c:pt>
                <c:pt idx="69">
                  <c:v>586.95860592292399</c:v>
                </c:pt>
                <c:pt idx="70">
                  <c:v>598.00487897798087</c:v>
                </c:pt>
                <c:pt idx="71">
                  <c:v>608.43012588468082</c:v>
                </c:pt>
                <c:pt idx="72">
                  <c:v>618.28035109875862</c:v>
                </c:pt>
                <c:pt idx="73">
                  <c:v>627.52153668186008</c:v>
                </c:pt>
                <c:pt idx="74">
                  <c:v>636.05119661077345</c:v>
                </c:pt>
                <c:pt idx="75">
                  <c:v>643.85261843434284</c:v>
                </c:pt>
                <c:pt idx="76">
                  <c:v>650.89544740521467</c:v>
                </c:pt>
                <c:pt idx="77">
                  <c:v>657.17787649407671</c:v>
                </c:pt>
                <c:pt idx="78">
                  <c:v>662.57213124722898</c:v>
                </c:pt>
                <c:pt idx="79">
                  <c:v>667.1356974051904</c:v>
                </c:pt>
                <c:pt idx="80">
                  <c:v>670.83957721248305</c:v>
                </c:pt>
                <c:pt idx="81">
                  <c:v>673.60942589335627</c:v>
                </c:pt>
                <c:pt idx="82">
                  <c:v>675.4445071934515</c:v>
                </c:pt>
                <c:pt idx="83">
                  <c:v>676.40833319454077</c:v>
                </c:pt>
                <c:pt idx="84">
                  <c:v>676.46215028791994</c:v>
                </c:pt>
                <c:pt idx="85">
                  <c:v>675.5448287357907</c:v>
                </c:pt>
                <c:pt idx="86">
                  <c:v>673.79277415197441</c:v>
                </c:pt>
                <c:pt idx="87">
                  <c:v>671.17423493947229</c:v>
                </c:pt>
                <c:pt idx="88">
                  <c:v>667.54139146819125</c:v>
                </c:pt>
                <c:pt idx="89">
                  <c:v>663.09986222758016</c:v>
                </c:pt>
                <c:pt idx="90">
                  <c:v>657.86161226869206</c:v>
                </c:pt>
                <c:pt idx="91">
                  <c:v>651.80503260485102</c:v>
                </c:pt>
                <c:pt idx="92">
                  <c:v>644.86761034293249</c:v>
                </c:pt>
                <c:pt idx="93">
                  <c:v>637.17290950991844</c:v>
                </c:pt>
                <c:pt idx="94">
                  <c:v>628.78258325971797</c:v>
                </c:pt>
                <c:pt idx="95">
                  <c:v>619.70182601401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5</c:v>
                </c:pt>
                <c:pt idx="1">
                  <c:v>15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6</c:v>
                </c:pt>
                <c:pt idx="9">
                  <c:v>19</c:v>
                </c:pt>
                <c:pt idx="10">
                  <c:v>18</c:v>
                </c:pt>
                <c:pt idx="11">
                  <c:v>20</c:v>
                </c:pt>
                <c:pt idx="12">
                  <c:v>22</c:v>
                </c:pt>
                <c:pt idx="13">
                  <c:v>26</c:v>
                </c:pt>
                <c:pt idx="14">
                  <c:v>24</c:v>
                </c:pt>
                <c:pt idx="15">
                  <c:v>21</c:v>
                </c:pt>
                <c:pt idx="16">
                  <c:v>24</c:v>
                </c:pt>
                <c:pt idx="17">
                  <c:v>26</c:v>
                </c:pt>
                <c:pt idx="18">
                  <c:v>32</c:v>
                </c:pt>
                <c:pt idx="19">
                  <c:v>30</c:v>
                </c:pt>
                <c:pt idx="20">
                  <c:v>35</c:v>
                </c:pt>
                <c:pt idx="21">
                  <c:v>36</c:v>
                </c:pt>
                <c:pt idx="22">
                  <c:v>32</c:v>
                </c:pt>
                <c:pt idx="23">
                  <c:v>37</c:v>
                </c:pt>
                <c:pt idx="24">
                  <c:v>41</c:v>
                </c:pt>
                <c:pt idx="25">
                  <c:v>46</c:v>
                </c:pt>
                <c:pt idx="26">
                  <c:v>48</c:v>
                </c:pt>
                <c:pt idx="27">
                  <c:v>52</c:v>
                </c:pt>
                <c:pt idx="28">
                  <c:v>65</c:v>
                </c:pt>
                <c:pt idx="29">
                  <c:v>66</c:v>
                </c:pt>
                <c:pt idx="30">
                  <c:v>77</c:v>
                </c:pt>
                <c:pt idx="31">
                  <c:v>98</c:v>
                </c:pt>
                <c:pt idx="32">
                  <c:v>110</c:v>
                </c:pt>
                <c:pt idx="33">
                  <c:v>120</c:v>
                </c:pt>
                <c:pt idx="34">
                  <c:v>132</c:v>
                </c:pt>
                <c:pt idx="35">
                  <c:v>147</c:v>
                </c:pt>
                <c:pt idx="36">
                  <c:v>152</c:v>
                </c:pt>
                <c:pt idx="37">
                  <c:v>152</c:v>
                </c:pt>
                <c:pt idx="38">
                  <c:v>177</c:v>
                </c:pt>
                <c:pt idx="39">
                  <c:v>191</c:v>
                </c:pt>
                <c:pt idx="40">
                  <c:v>200</c:v>
                </c:pt>
                <c:pt idx="41">
                  <c:v>207</c:v>
                </c:pt>
                <c:pt idx="42">
                  <c:v>222</c:v>
                </c:pt>
                <c:pt idx="43">
                  <c:v>218</c:v>
                </c:pt>
                <c:pt idx="44">
                  <c:v>229</c:v>
                </c:pt>
                <c:pt idx="45">
                  <c:v>266</c:v>
                </c:pt>
                <c:pt idx="46">
                  <c:v>266</c:v>
                </c:pt>
                <c:pt idx="47">
                  <c:v>269</c:v>
                </c:pt>
                <c:pt idx="48">
                  <c:v>289</c:v>
                </c:pt>
                <c:pt idx="49">
                  <c:v>292</c:v>
                </c:pt>
                <c:pt idx="50">
                  <c:v>286</c:v>
                </c:pt>
                <c:pt idx="51">
                  <c:v>290</c:v>
                </c:pt>
                <c:pt idx="52">
                  <c:v>335</c:v>
                </c:pt>
                <c:pt idx="53">
                  <c:v>345</c:v>
                </c:pt>
                <c:pt idx="54">
                  <c:v>335</c:v>
                </c:pt>
                <c:pt idx="55">
                  <c:v>367</c:v>
                </c:pt>
                <c:pt idx="56">
                  <c:v>378</c:v>
                </c:pt>
                <c:pt idx="57">
                  <c:v>356</c:v>
                </c:pt>
                <c:pt idx="58">
                  <c:v>365</c:v>
                </c:pt>
                <c:pt idx="59">
                  <c:v>386</c:v>
                </c:pt>
                <c:pt idx="60">
                  <c:v>392</c:v>
                </c:pt>
                <c:pt idx="61">
                  <c:v>392</c:v>
                </c:pt>
                <c:pt idx="62">
                  <c:v>392</c:v>
                </c:pt>
                <c:pt idx="63">
                  <c:v>387</c:v>
                </c:pt>
                <c:pt idx="64">
                  <c:v>369</c:v>
                </c:pt>
                <c:pt idx="65">
                  <c:v>384</c:v>
                </c:pt>
                <c:pt idx="66">
                  <c:v>404</c:v>
                </c:pt>
                <c:pt idx="67">
                  <c:v>391</c:v>
                </c:pt>
                <c:pt idx="68">
                  <c:v>369</c:v>
                </c:pt>
                <c:pt idx="69">
                  <c:v>335</c:v>
                </c:pt>
                <c:pt idx="70">
                  <c:v>319</c:v>
                </c:pt>
                <c:pt idx="71">
                  <c:v>297</c:v>
                </c:pt>
                <c:pt idx="72">
                  <c:v>295</c:v>
                </c:pt>
                <c:pt idx="73">
                  <c:v>310</c:v>
                </c:pt>
                <c:pt idx="74">
                  <c:v>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15.12529444846726</c:v>
                </c:pt>
                <c:pt idx="43">
                  <c:v>222.28027611298467</c:v>
                </c:pt>
                <c:pt idx="44">
                  <c:v>229.41337099521465</c:v>
                </c:pt>
                <c:pt idx="45">
                  <c:v>236.26913642974114</c:v>
                </c:pt>
                <c:pt idx="46">
                  <c:v>242.61232162529149</c:v>
                </c:pt>
                <c:pt idx="47">
                  <c:v>248.54494454879506</c:v>
                </c:pt>
                <c:pt idx="48">
                  <c:v>254.28247225195747</c:v>
                </c:pt>
                <c:pt idx="49">
                  <c:v>259.9332375195479</c:v>
                </c:pt>
                <c:pt idx="50">
                  <c:v>265.47304210287689</c:v>
                </c:pt>
                <c:pt idx="51">
                  <c:v>271.1736676995352</c:v>
                </c:pt>
                <c:pt idx="52">
                  <c:v>276.67455638760583</c:v>
                </c:pt>
                <c:pt idx="53">
                  <c:v>281.3657415605191</c:v>
                </c:pt>
                <c:pt idx="54">
                  <c:v>285.63615558410794</c:v>
                </c:pt>
                <c:pt idx="55">
                  <c:v>289.72898167836826</c:v>
                </c:pt>
                <c:pt idx="56">
                  <c:v>293.73284290697342</c:v>
                </c:pt>
                <c:pt idx="57">
                  <c:v>297.67772315244207</c:v>
                </c:pt>
                <c:pt idx="58">
                  <c:v>301.55150931906411</c:v>
                </c:pt>
                <c:pt idx="59">
                  <c:v>305.30735015402377</c:v>
                </c:pt>
                <c:pt idx="60">
                  <c:v>308.74670528709447</c:v>
                </c:pt>
                <c:pt idx="61">
                  <c:v>311.92016504364665</c:v>
                </c:pt>
                <c:pt idx="62">
                  <c:v>314.86030145636045</c:v>
                </c:pt>
                <c:pt idx="63">
                  <c:v>317.58930606977032</c:v>
                </c:pt>
                <c:pt idx="64">
                  <c:v>320.08112038448917</c:v>
                </c:pt>
                <c:pt idx="65">
                  <c:v>322.38555829526234</c:v>
                </c:pt>
                <c:pt idx="66">
                  <c:v>324.46307565982215</c:v>
                </c:pt>
                <c:pt idx="67">
                  <c:v>326.3200320121195</c:v>
                </c:pt>
                <c:pt idx="68">
                  <c:v>327.88571231206981</c:v>
                </c:pt>
                <c:pt idx="69">
                  <c:v>329.19002652046112</c:v>
                </c:pt>
                <c:pt idx="70">
                  <c:v>330.2690972369171</c:v>
                </c:pt>
                <c:pt idx="71">
                  <c:v>331.01126400978939</c:v>
                </c:pt>
                <c:pt idx="72">
                  <c:v>331.49615066910201</c:v>
                </c:pt>
                <c:pt idx="73">
                  <c:v>331.73122888319131</c:v>
                </c:pt>
                <c:pt idx="74">
                  <c:v>331.66435132063935</c:v>
                </c:pt>
                <c:pt idx="75">
                  <c:v>331.31716743125651</c:v>
                </c:pt>
                <c:pt idx="76">
                  <c:v>330.69585702385621</c:v>
                </c:pt>
                <c:pt idx="77">
                  <c:v>329.82926609755617</c:v>
                </c:pt>
                <c:pt idx="78">
                  <c:v>328.63712334679099</c:v>
                </c:pt>
                <c:pt idx="79">
                  <c:v>327.19302972446718</c:v>
                </c:pt>
                <c:pt idx="80">
                  <c:v>325.49292873204172</c:v>
                </c:pt>
                <c:pt idx="81">
                  <c:v>323.49147005835522</c:v>
                </c:pt>
                <c:pt idx="82">
                  <c:v>321.20720643635593</c:v>
                </c:pt>
                <c:pt idx="83">
                  <c:v>318.70480672148085</c:v>
                </c:pt>
                <c:pt idx="84">
                  <c:v>315.96117795152213</c:v>
                </c:pt>
                <c:pt idx="85">
                  <c:v>312.93174923539988</c:v>
                </c:pt>
                <c:pt idx="86">
                  <c:v>309.73413797853652</c:v>
                </c:pt>
                <c:pt idx="87">
                  <c:v>306.34042322029615</c:v>
                </c:pt>
                <c:pt idx="88">
                  <c:v>302.61990260100794</c:v>
                </c:pt>
                <c:pt idx="89">
                  <c:v>298.74223450346426</c:v>
                </c:pt>
                <c:pt idx="90">
                  <c:v>294.70876426942363</c:v>
                </c:pt>
                <c:pt idx="91">
                  <c:v>290.48918712827634</c:v>
                </c:pt>
                <c:pt idx="92">
                  <c:v>286.03000987435507</c:v>
                </c:pt>
                <c:pt idx="93">
                  <c:v>281.40964368569644</c:v>
                </c:pt>
                <c:pt idx="94">
                  <c:v>276.66113737159071</c:v>
                </c:pt>
                <c:pt idx="95">
                  <c:v>271.76894619326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15.63373121693138</c:v>
                </c:pt>
                <c:pt idx="43">
                  <c:v>223.47964628443611</c:v>
                </c:pt>
                <c:pt idx="44">
                  <c:v>231.49847556854334</c:v>
                </c:pt>
                <c:pt idx="45">
                  <c:v>239.43939983399756</c:v>
                </c:pt>
                <c:pt idx="46">
                  <c:v>247.07722703344996</c:v>
                </c:pt>
                <c:pt idx="47">
                  <c:v>254.51281642756138</c:v>
                </c:pt>
                <c:pt idx="48">
                  <c:v>261.96430178645664</c:v>
                </c:pt>
                <c:pt idx="49">
                  <c:v>269.53480544004606</c:v>
                </c:pt>
                <c:pt idx="50">
                  <c:v>277.19899120919678</c:v>
                </c:pt>
                <c:pt idx="51">
                  <c:v>285.22179330975496</c:v>
                </c:pt>
                <c:pt idx="52">
                  <c:v>293.23856833719998</c:v>
                </c:pt>
                <c:pt idx="53">
                  <c:v>300.63141824152865</c:v>
                </c:pt>
                <c:pt idx="54">
                  <c:v>307.78275367975118</c:v>
                </c:pt>
                <c:pt idx="55">
                  <c:v>314.92428030259697</c:v>
                </c:pt>
                <c:pt idx="56">
                  <c:v>322.1287359433328</c:v>
                </c:pt>
                <c:pt idx="57">
                  <c:v>329.3975802304841</c:v>
                </c:pt>
                <c:pt idx="58">
                  <c:v>336.70944452334049</c:v>
                </c:pt>
                <c:pt idx="59">
                  <c:v>344.00347973007763</c:v>
                </c:pt>
                <c:pt idx="60">
                  <c:v>351.07148142643098</c:v>
                </c:pt>
                <c:pt idx="61">
                  <c:v>357.94515905657556</c:v>
                </c:pt>
                <c:pt idx="62">
                  <c:v>364.64300319647407</c:v>
                </c:pt>
                <c:pt idx="63">
                  <c:v>371.17072361034559</c:v>
                </c:pt>
                <c:pt idx="64">
                  <c:v>377.48191993201601</c:v>
                </c:pt>
                <c:pt idx="65">
                  <c:v>383.60905258263347</c:v>
                </c:pt>
                <c:pt idx="66">
                  <c:v>389.49826982732048</c:v>
                </c:pt>
                <c:pt idx="67">
                  <c:v>395.13935316829014</c:v>
                </c:pt>
                <c:pt idx="68">
                  <c:v>400.44680211697818</c:v>
                </c:pt>
                <c:pt idx="69">
                  <c:v>405.43510892684196</c:v>
                </c:pt>
                <c:pt idx="70">
                  <c:v>410.12442967829077</c:v>
                </c:pt>
                <c:pt idx="71">
                  <c:v>414.38781040202616</c:v>
                </c:pt>
                <c:pt idx="72">
                  <c:v>418.28920286043513</c:v>
                </c:pt>
                <c:pt idx="73">
                  <c:v>421.82232811135299</c:v>
                </c:pt>
                <c:pt idx="74">
                  <c:v>424.92218273936669</c:v>
                </c:pt>
                <c:pt idx="75">
                  <c:v>427.5978643320484</c:v>
                </c:pt>
                <c:pt idx="76">
                  <c:v>429.84381334236559</c:v>
                </c:pt>
                <c:pt idx="77">
                  <c:v>431.67883003216014</c:v>
                </c:pt>
                <c:pt idx="78">
                  <c:v>433.01258487750715</c:v>
                </c:pt>
                <c:pt idx="79">
                  <c:v>433.91046471542336</c:v>
                </c:pt>
                <c:pt idx="80">
                  <c:v>434.36094359006074</c:v>
                </c:pt>
                <c:pt idx="81">
                  <c:v>434.31229275179146</c:v>
                </c:pt>
                <c:pt idx="82">
                  <c:v>433.77731715750872</c:v>
                </c:pt>
                <c:pt idx="83">
                  <c:v>432.81686076047828</c:v>
                </c:pt>
                <c:pt idx="84">
                  <c:v>431.40483456628385</c:v>
                </c:pt>
                <c:pt idx="85">
                  <c:v>429.49480631637698</c:v>
                </c:pt>
                <c:pt idx="86">
                  <c:v>427.20365196828675</c:v>
                </c:pt>
                <c:pt idx="87">
                  <c:v>424.50378276666299</c:v>
                </c:pt>
                <c:pt idx="88">
                  <c:v>421.26537940971173</c:v>
                </c:pt>
                <c:pt idx="89">
                  <c:v>417.66077799345913</c:v>
                </c:pt>
                <c:pt idx="90">
                  <c:v>413.69415603490427</c:v>
                </c:pt>
                <c:pt idx="91">
                  <c:v>409.33925183223676</c:v>
                </c:pt>
                <c:pt idx="92">
                  <c:v>404.54093513208602</c:v>
                </c:pt>
                <c:pt idx="93">
                  <c:v>399.38766104908728</c:v>
                </c:pt>
                <c:pt idx="94">
                  <c:v>393.91873010178881</c:v>
                </c:pt>
                <c:pt idx="95">
                  <c:v>388.12551627348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16.14539884857317</c:v>
                </c:pt>
                <c:pt idx="43">
                  <c:v>224.69055591865828</c:v>
                </c:pt>
                <c:pt idx="44">
                  <c:v>233.61174719113154</c:v>
                </c:pt>
                <c:pt idx="45">
                  <c:v>242.66649303345474</c:v>
                </c:pt>
                <c:pt idx="46">
                  <c:v>251.64376854941267</c:v>
                </c:pt>
                <c:pt idx="47">
                  <c:v>260.64761561576847</c:v>
                </c:pt>
                <c:pt idx="48">
                  <c:v>269.90336254323552</c:v>
                </c:pt>
                <c:pt idx="49">
                  <c:v>279.51349498267632</c:v>
                </c:pt>
                <c:pt idx="50">
                  <c:v>289.45607910246468</c:v>
                </c:pt>
                <c:pt idx="51">
                  <c:v>299.99358662287761</c:v>
                </c:pt>
                <c:pt idx="52">
                  <c:v>310.76144151299576</c:v>
                </c:pt>
                <c:pt idx="53">
                  <c:v>321.137594993287</c:v>
                </c:pt>
                <c:pt idx="54">
                  <c:v>331.50128226946026</c:v>
                </c:pt>
                <c:pt idx="55">
                  <c:v>342.07553196070012</c:v>
                </c:pt>
                <c:pt idx="56">
                  <c:v>352.91939426719023</c:v>
                </c:pt>
                <c:pt idx="57">
                  <c:v>364.00720880899712</c:v>
                </c:pt>
                <c:pt idx="58">
                  <c:v>375.30904496445498</c:v>
                </c:pt>
                <c:pt idx="59">
                  <c:v>386.74993324808065</c:v>
                </c:pt>
                <c:pt idx="60">
                  <c:v>398.1110067265289</c:v>
                </c:pt>
                <c:pt idx="61">
                  <c:v>409.40315598751545</c:v>
                </c:pt>
                <c:pt idx="62">
                  <c:v>420.62793281182167</c:v>
                </c:pt>
                <c:pt idx="63">
                  <c:v>431.77079764607896</c:v>
                </c:pt>
                <c:pt idx="64">
                  <c:v>442.76032701783555</c:v>
                </c:pt>
                <c:pt idx="65">
                  <c:v>453.60618211341114</c:v>
                </c:pt>
                <c:pt idx="66">
                  <c:v>464.23404823430712</c:v>
                </c:pt>
                <c:pt idx="67">
                  <c:v>474.61018024522809</c:v>
                </c:pt>
                <c:pt idx="68">
                  <c:v>484.62666936184758</c:v>
                </c:pt>
                <c:pt idx="69">
                  <c:v>494.27438070276708</c:v>
                </c:pt>
                <c:pt idx="70">
                  <c:v>503.54882276722253</c:v>
                </c:pt>
                <c:pt idx="71">
                  <c:v>512.29870548046745</c:v>
                </c:pt>
                <c:pt idx="72">
                  <c:v>520.56306444334064</c:v>
                </c:pt>
                <c:pt idx="73">
                  <c:v>528.31254261297931</c:v>
                </c:pt>
                <c:pt idx="74">
                  <c:v>535.45996763925723</c:v>
                </c:pt>
                <c:pt idx="75">
                  <c:v>541.99270967890357</c:v>
                </c:pt>
                <c:pt idx="76">
                  <c:v>547.8845613056742</c:v>
                </c:pt>
                <c:pt idx="77">
                  <c:v>553.13576341175235</c:v>
                </c:pt>
                <c:pt idx="78">
                  <c:v>557.63792409913879</c:v>
                </c:pt>
                <c:pt idx="79">
                  <c:v>561.44083496834401</c:v>
                </c:pt>
                <c:pt idx="80">
                  <c:v>564.51883297520442</c:v>
                </c:pt>
                <c:pt idx="81">
                  <c:v>566.80794327529929</c:v>
                </c:pt>
                <c:pt idx="82">
                  <c:v>568.31023024323031</c:v>
                </c:pt>
                <c:pt idx="83">
                  <c:v>569.07866060855054</c:v>
                </c:pt>
                <c:pt idx="84">
                  <c:v>569.0810818646471</c:v>
                </c:pt>
                <c:pt idx="85">
                  <c:v>568.26714753074032</c:v>
                </c:pt>
                <c:pt idx="86">
                  <c:v>566.75196782335502</c:v>
                </c:pt>
                <c:pt idx="87">
                  <c:v>564.5082866861261</c:v>
                </c:pt>
                <c:pt idx="88">
                  <c:v>561.40817437042347</c:v>
                </c:pt>
                <c:pt idx="89">
                  <c:v>557.62863294041949</c:v>
                </c:pt>
                <c:pt idx="90">
                  <c:v>553.17959502791052</c:v>
                </c:pt>
                <c:pt idx="91">
                  <c:v>548.04264780992935</c:v>
                </c:pt>
                <c:pt idx="92">
                  <c:v>542.16560614233993</c:v>
                </c:pt>
                <c:pt idx="93">
                  <c:v>535.65230926871493</c:v>
                </c:pt>
                <c:pt idx="94">
                  <c:v>528.55429136230782</c:v>
                </c:pt>
                <c:pt idx="95">
                  <c:v>520.87639192279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6</c:v>
                </c:pt>
                <c:pt idx="13">
                  <c:v>8</c:v>
                </c:pt>
                <c:pt idx="14">
                  <c:v>9</c:v>
                </c:pt>
                <c:pt idx="15">
                  <c:v>8</c:v>
                </c:pt>
                <c:pt idx="16">
                  <c:v>8</c:v>
                </c:pt>
                <c:pt idx="17">
                  <c:v>11</c:v>
                </c:pt>
                <c:pt idx="18">
                  <c:v>13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6</c:v>
                </c:pt>
                <c:pt idx="23">
                  <c:v>15</c:v>
                </c:pt>
                <c:pt idx="24">
                  <c:v>17</c:v>
                </c:pt>
                <c:pt idx="25">
                  <c:v>14</c:v>
                </c:pt>
                <c:pt idx="26">
                  <c:v>12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6</c:v>
                </c:pt>
                <c:pt idx="33">
                  <c:v>19</c:v>
                </c:pt>
                <c:pt idx="34">
                  <c:v>19</c:v>
                </c:pt>
                <c:pt idx="35">
                  <c:v>21</c:v>
                </c:pt>
                <c:pt idx="36">
                  <c:v>24</c:v>
                </c:pt>
                <c:pt idx="37">
                  <c:v>24</c:v>
                </c:pt>
                <c:pt idx="38">
                  <c:v>30</c:v>
                </c:pt>
                <c:pt idx="39">
                  <c:v>33</c:v>
                </c:pt>
                <c:pt idx="40">
                  <c:v>39</c:v>
                </c:pt>
                <c:pt idx="41">
                  <c:v>46</c:v>
                </c:pt>
                <c:pt idx="42">
                  <c:v>47</c:v>
                </c:pt>
                <c:pt idx="43">
                  <c:v>46</c:v>
                </c:pt>
                <c:pt idx="44">
                  <c:v>45</c:v>
                </c:pt>
                <c:pt idx="45">
                  <c:v>57</c:v>
                </c:pt>
                <c:pt idx="46">
                  <c:v>62</c:v>
                </c:pt>
                <c:pt idx="47">
                  <c:v>60</c:v>
                </c:pt>
                <c:pt idx="48">
                  <c:v>66</c:v>
                </c:pt>
                <c:pt idx="49">
                  <c:v>69</c:v>
                </c:pt>
                <c:pt idx="50">
                  <c:v>63</c:v>
                </c:pt>
                <c:pt idx="51">
                  <c:v>69</c:v>
                </c:pt>
                <c:pt idx="52">
                  <c:v>82</c:v>
                </c:pt>
                <c:pt idx="53">
                  <c:v>84</c:v>
                </c:pt>
                <c:pt idx="54">
                  <c:v>80</c:v>
                </c:pt>
                <c:pt idx="55">
                  <c:v>96</c:v>
                </c:pt>
                <c:pt idx="56">
                  <c:v>94</c:v>
                </c:pt>
                <c:pt idx="57">
                  <c:v>93</c:v>
                </c:pt>
                <c:pt idx="58">
                  <c:v>105</c:v>
                </c:pt>
                <c:pt idx="59">
                  <c:v>118</c:v>
                </c:pt>
                <c:pt idx="60">
                  <c:v>106</c:v>
                </c:pt>
                <c:pt idx="61">
                  <c:v>105</c:v>
                </c:pt>
                <c:pt idx="62">
                  <c:v>108</c:v>
                </c:pt>
                <c:pt idx="63">
                  <c:v>109</c:v>
                </c:pt>
                <c:pt idx="64">
                  <c:v>101</c:v>
                </c:pt>
                <c:pt idx="65">
                  <c:v>104</c:v>
                </c:pt>
                <c:pt idx="66">
                  <c:v>116</c:v>
                </c:pt>
                <c:pt idx="67">
                  <c:v>102</c:v>
                </c:pt>
                <c:pt idx="68">
                  <c:v>95</c:v>
                </c:pt>
                <c:pt idx="69">
                  <c:v>87</c:v>
                </c:pt>
                <c:pt idx="70">
                  <c:v>88</c:v>
                </c:pt>
                <c:pt idx="71">
                  <c:v>80</c:v>
                </c:pt>
                <c:pt idx="72">
                  <c:v>81</c:v>
                </c:pt>
                <c:pt idx="73">
                  <c:v>89</c:v>
                </c:pt>
                <c:pt idx="74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2.411105122694359</c:v>
                </c:pt>
                <c:pt idx="43">
                  <c:v>54.209713315404862</c:v>
                </c:pt>
                <c:pt idx="44">
                  <c:v>56.001958452832312</c:v>
                </c:pt>
                <c:pt idx="45">
                  <c:v>57.728809699789338</c:v>
                </c:pt>
                <c:pt idx="46">
                  <c:v>59.33762911181401</c:v>
                </c:pt>
                <c:pt idx="47">
                  <c:v>60.847611994560893</c:v>
                </c:pt>
                <c:pt idx="48">
                  <c:v>62.303463783023659</c:v>
                </c:pt>
                <c:pt idx="49">
                  <c:v>63.732375372392575</c:v>
                </c:pt>
                <c:pt idx="50">
                  <c:v>65.130907889567524</c:v>
                </c:pt>
                <c:pt idx="51">
                  <c:v>66.56194207963739</c:v>
                </c:pt>
                <c:pt idx="52">
                  <c:v>67.938285462655159</c:v>
                </c:pt>
                <c:pt idx="53">
                  <c:v>69.117357673947865</c:v>
                </c:pt>
                <c:pt idx="54">
                  <c:v>70.194831239179209</c:v>
                </c:pt>
                <c:pt idx="55">
                  <c:v>71.223875437463292</c:v>
                </c:pt>
                <c:pt idx="56">
                  <c:v>72.226016951580519</c:v>
                </c:pt>
                <c:pt idx="57">
                  <c:v>73.205910423143578</c:v>
                </c:pt>
                <c:pt idx="58">
                  <c:v>74.165592623292667</c:v>
                </c:pt>
                <c:pt idx="59">
                  <c:v>75.093258803158534</c:v>
                </c:pt>
                <c:pt idx="60">
                  <c:v>75.937872786950209</c:v>
                </c:pt>
                <c:pt idx="61">
                  <c:v>76.716662653668919</c:v>
                </c:pt>
                <c:pt idx="62">
                  <c:v>77.435632155996885</c:v>
                </c:pt>
                <c:pt idx="63">
                  <c:v>78.100596329860622</c:v>
                </c:pt>
                <c:pt idx="64">
                  <c:v>78.705888200128385</c:v>
                </c:pt>
                <c:pt idx="65">
                  <c:v>79.263545597247372</c:v>
                </c:pt>
                <c:pt idx="66">
                  <c:v>79.764186055622531</c:v>
                </c:pt>
                <c:pt idx="67">
                  <c:v>80.208207689667276</c:v>
                </c:pt>
                <c:pt idx="68">
                  <c:v>80.580134512792739</c:v>
                </c:pt>
                <c:pt idx="69">
                  <c:v>80.885730601679512</c:v>
                </c:pt>
                <c:pt idx="70">
                  <c:v>81.135780013262575</c:v>
                </c:pt>
                <c:pt idx="71">
                  <c:v>81.303010671776164</c:v>
                </c:pt>
                <c:pt idx="72">
                  <c:v>81.40724953879365</c:v>
                </c:pt>
                <c:pt idx="73">
                  <c:v>81.449546580597115</c:v>
                </c:pt>
                <c:pt idx="74">
                  <c:v>81.41588011912647</c:v>
                </c:pt>
                <c:pt idx="75">
                  <c:v>81.313084104838339</c:v>
                </c:pt>
                <c:pt idx="76">
                  <c:v>81.141800479385296</c:v>
                </c:pt>
                <c:pt idx="77">
                  <c:v>80.911001180415042</c:v>
                </c:pt>
                <c:pt idx="78">
                  <c:v>80.599893634425086</c:v>
                </c:pt>
                <c:pt idx="79">
                  <c:v>80.227979812628234</c:v>
                </c:pt>
                <c:pt idx="80">
                  <c:v>79.792674626376737</c:v>
                </c:pt>
                <c:pt idx="81">
                  <c:v>79.281077797729324</c:v>
                </c:pt>
                <c:pt idx="82">
                  <c:v>78.700644626869178</c:v>
                </c:pt>
                <c:pt idx="83">
                  <c:v>78.066504384248844</c:v>
                </c:pt>
                <c:pt idx="84">
                  <c:v>77.373329956230265</c:v>
                </c:pt>
                <c:pt idx="85">
                  <c:v>76.61124332869835</c:v>
                </c:pt>
                <c:pt idx="86">
                  <c:v>75.809294874668041</c:v>
                </c:pt>
                <c:pt idx="87">
                  <c:v>74.959844023372753</c:v>
                </c:pt>
                <c:pt idx="88">
                  <c:v>74.026655483620615</c:v>
                </c:pt>
                <c:pt idx="89">
                  <c:v>73.055684436621846</c:v>
                </c:pt>
                <c:pt idx="90">
                  <c:v>72.046976453858832</c:v>
                </c:pt>
                <c:pt idx="91">
                  <c:v>70.992694830342884</c:v>
                </c:pt>
                <c:pt idx="92">
                  <c:v>69.880468131290669</c:v>
                </c:pt>
                <c:pt idx="93">
                  <c:v>68.728989447868159</c:v>
                </c:pt>
                <c:pt idx="94">
                  <c:v>67.545879944691819</c:v>
                </c:pt>
                <c:pt idx="95">
                  <c:v>66.327773159040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2.53898002114569</c:v>
                </c:pt>
                <c:pt idx="43">
                  <c:v>54.511407013193747</c:v>
                </c:pt>
                <c:pt idx="44">
                  <c:v>56.526247595542443</c:v>
                </c:pt>
                <c:pt idx="45">
                  <c:v>58.525407292222539</c:v>
                </c:pt>
                <c:pt idx="46">
                  <c:v>60.458792364752071</c:v>
                </c:pt>
                <c:pt idx="47">
                  <c:v>62.345102448054703</c:v>
                </c:pt>
                <c:pt idx="48">
                  <c:v>64.229591206014305</c:v>
                </c:pt>
                <c:pt idx="49">
                  <c:v>66.138049723709372</c:v>
                </c:pt>
                <c:pt idx="50">
                  <c:v>68.066634004336493</c:v>
                </c:pt>
                <c:pt idx="51">
                  <c:v>70.076394606075695</c:v>
                </c:pt>
                <c:pt idx="52">
                  <c:v>72.078939942617467</c:v>
                </c:pt>
                <c:pt idx="53">
                  <c:v>73.929680397453353</c:v>
                </c:pt>
                <c:pt idx="54">
                  <c:v>75.722653897038683</c:v>
                </c:pt>
                <c:pt idx="55">
                  <c:v>77.507957108104605</c:v>
                </c:pt>
                <c:pt idx="56">
                  <c:v>79.30305082605588</c:v>
                </c:pt>
                <c:pt idx="57">
                  <c:v>81.105599995707252</c:v>
                </c:pt>
                <c:pt idx="58">
                  <c:v>82.9153086745157</c:v>
                </c:pt>
                <c:pt idx="59">
                  <c:v>84.716873641948894</c:v>
                </c:pt>
                <c:pt idx="60">
                  <c:v>86.456797436067689</c:v>
                </c:pt>
                <c:pt idx="61">
                  <c:v>88.1476438669076</c:v>
                </c:pt>
                <c:pt idx="62">
                  <c:v>89.791901439045006</c:v>
                </c:pt>
                <c:pt idx="63">
                  <c:v>91.39141478002486</c:v>
                </c:pt>
                <c:pt idx="64">
                  <c:v>92.935372729788455</c:v>
                </c:pt>
                <c:pt idx="65">
                  <c:v>94.431612949306526</c:v>
                </c:pt>
                <c:pt idx="66">
                  <c:v>95.86723694900445</c:v>
                </c:pt>
                <c:pt idx="67">
                  <c:v>97.238588813874884</c:v>
                </c:pt>
                <c:pt idx="68">
                  <c:v>98.526582289166669</c:v>
                </c:pt>
                <c:pt idx="69">
                  <c:v>99.733207457086024</c:v>
                </c:pt>
                <c:pt idx="70">
                  <c:v>100.86536222548581</c:v>
                </c:pt>
                <c:pt idx="71">
                  <c:v>101.89202965362901</c:v>
                </c:pt>
                <c:pt idx="72">
                  <c:v>102.82923606295923</c:v>
                </c:pt>
                <c:pt idx="73">
                  <c:v>103.67463674278068</c:v>
                </c:pt>
                <c:pt idx="74">
                  <c:v>104.4111387731559</c:v>
                </c:pt>
                <c:pt idx="75">
                  <c:v>105.04254445572107</c:v>
                </c:pt>
                <c:pt idx="76">
                  <c:v>105.56666783636918</c:v>
                </c:pt>
                <c:pt idx="77">
                  <c:v>105.99005743892033</c:v>
                </c:pt>
                <c:pt idx="78">
                  <c:v>106.28949177195406</c:v>
                </c:pt>
                <c:pt idx="79">
                  <c:v>106.48252383631009</c:v>
                </c:pt>
                <c:pt idx="80">
                  <c:v>106.56479467647667</c:v>
                </c:pt>
                <c:pt idx="81">
                  <c:v>106.52189983439965</c:v>
                </c:pt>
                <c:pt idx="82">
                  <c:v>106.35993105016252</c:v>
                </c:pt>
                <c:pt idx="83">
                  <c:v>106.09315128000677</c:v>
                </c:pt>
                <c:pt idx="84">
                  <c:v>105.71556077431801</c:v>
                </c:pt>
                <c:pt idx="85">
                  <c:v>105.21688707840549</c:v>
                </c:pt>
                <c:pt idx="86">
                  <c:v>104.62606030158273</c:v>
                </c:pt>
                <c:pt idx="87">
                  <c:v>103.93558186156139</c:v>
                </c:pt>
                <c:pt idx="88">
                  <c:v>103.10947665363899</c:v>
                </c:pt>
                <c:pt idx="89">
                  <c:v>102.19442315077222</c:v>
                </c:pt>
                <c:pt idx="90">
                  <c:v>101.1912002615607</c:v>
                </c:pt>
                <c:pt idx="91">
                  <c:v>100.09300827193996</c:v>
                </c:pt>
                <c:pt idx="92">
                  <c:v>98.88691132118592</c:v>
                </c:pt>
                <c:pt idx="93">
                  <c:v>97.594241569952288</c:v>
                </c:pt>
                <c:pt idx="94">
                  <c:v>96.224183835494458</c:v>
                </c:pt>
                <c:pt idx="95">
                  <c:v>94.775095663529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2.667664929148884</c:v>
                </c:pt>
                <c:pt idx="43">
                  <c:v>54.81599684752004</c:v>
                </c:pt>
                <c:pt idx="44">
                  <c:v>57.0576088602186</c:v>
                </c:pt>
                <c:pt idx="45">
                  <c:v>59.336273880589729</c:v>
                </c:pt>
                <c:pt idx="46">
                  <c:v>61.605470112328064</c:v>
                </c:pt>
                <c:pt idx="47">
                  <c:v>63.884484075174043</c:v>
                </c:pt>
                <c:pt idx="48">
                  <c:v>66.220243907122409</c:v>
                </c:pt>
                <c:pt idx="49">
                  <c:v>68.638275394981889</c:v>
                </c:pt>
                <c:pt idx="50">
                  <c:v>71.135451643157651</c:v>
                </c:pt>
                <c:pt idx="51">
                  <c:v>73.772072476637675</c:v>
                </c:pt>
                <c:pt idx="52">
                  <c:v>76.459564124408487</c:v>
                </c:pt>
                <c:pt idx="53">
                  <c:v>79.052248056641275</c:v>
                </c:pt>
                <c:pt idx="54">
                  <c:v>81.643336161162665</c:v>
                </c:pt>
                <c:pt idx="55">
                  <c:v>84.280520824533582</c:v>
                </c:pt>
                <c:pt idx="56">
                  <c:v>86.977712286607954</c:v>
                </c:pt>
                <c:pt idx="57">
                  <c:v>89.725901854140801</c:v>
                </c:pt>
                <c:pt idx="58">
                  <c:v>92.52259831911428</c:v>
                </c:pt>
                <c:pt idx="59">
                  <c:v>95.348933905691837</c:v>
                </c:pt>
                <c:pt idx="60">
                  <c:v>98.148665629723411</c:v>
                </c:pt>
                <c:pt idx="61">
                  <c:v>100.92917615987892</c:v>
                </c:pt>
                <c:pt idx="62">
                  <c:v>103.68869445189742</c:v>
                </c:pt>
                <c:pt idx="63">
                  <c:v>106.42412697417586</c:v>
                </c:pt>
                <c:pt idx="64">
                  <c:v>109.11832543432594</c:v>
                </c:pt>
                <c:pt idx="65">
                  <c:v>111.77354880484509</c:v>
                </c:pt>
                <c:pt idx="66">
                  <c:v>114.37183239599464</c:v>
                </c:pt>
                <c:pt idx="67">
                  <c:v>116.90372458616366</c:v>
                </c:pt>
                <c:pt idx="68">
                  <c:v>119.344625703437</c:v>
                </c:pt>
                <c:pt idx="69">
                  <c:v>121.69070922955186</c:v>
                </c:pt>
                <c:pt idx="70">
                  <c:v>123.94283372974886</c:v>
                </c:pt>
                <c:pt idx="71">
                  <c:v>126.06400060372789</c:v>
                </c:pt>
                <c:pt idx="72">
                  <c:v>128.06415553788045</c:v>
                </c:pt>
                <c:pt idx="73">
                  <c:v>129.93526489399133</c:v>
                </c:pt>
                <c:pt idx="74">
                  <c:v>131.65488087012685</c:v>
                </c:pt>
                <c:pt idx="75">
                  <c:v>133.22153091857831</c:v>
                </c:pt>
                <c:pt idx="76">
                  <c:v>134.62803039023424</c:v>
                </c:pt>
                <c:pt idx="77">
                  <c:v>135.87643720259504</c:v>
                </c:pt>
                <c:pt idx="78">
                  <c:v>136.93916511179722</c:v>
                </c:pt>
                <c:pt idx="79">
                  <c:v>137.83004126842002</c:v>
                </c:pt>
                <c:pt idx="80">
                  <c:v>138.54133659456932</c:v>
                </c:pt>
                <c:pt idx="81">
                  <c:v>139.0557474929337</c:v>
                </c:pt>
                <c:pt idx="82">
                  <c:v>139.37682605044131</c:v>
                </c:pt>
                <c:pt idx="83">
                  <c:v>139.51702713990846</c:v>
                </c:pt>
                <c:pt idx="84">
                  <c:v>139.468980971772</c:v>
                </c:pt>
                <c:pt idx="85">
                  <c:v>139.22157410477701</c:v>
                </c:pt>
                <c:pt idx="86">
                  <c:v>138.80342326546432</c:v>
                </c:pt>
                <c:pt idx="87">
                  <c:v>138.20723037351095</c:v>
                </c:pt>
                <c:pt idx="88">
                  <c:v>137.39758510114726</c:v>
                </c:pt>
                <c:pt idx="89">
                  <c:v>136.42243324864549</c:v>
                </c:pt>
                <c:pt idx="90">
                  <c:v>135.28405801173906</c:v>
                </c:pt>
                <c:pt idx="91">
                  <c:v>133.97768118961628</c:v>
                </c:pt>
                <c:pt idx="92">
                  <c:v>132.4909724996248</c:v>
                </c:pt>
                <c:pt idx="93">
                  <c:v>130.84925538108266</c:v>
                </c:pt>
                <c:pt idx="94">
                  <c:v>129.06478263447468</c:v>
                </c:pt>
                <c:pt idx="95">
                  <c:v>127.13927336570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21</c:v>
                </c:pt>
                <c:pt idx="4">
                  <c:v>16</c:v>
                </c:pt>
                <c:pt idx="5">
                  <c:v>20</c:v>
                </c:pt>
                <c:pt idx="6">
                  <c:v>4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23</c:v>
                </c:pt>
                <c:pt idx="11">
                  <c:v>22</c:v>
                </c:pt>
                <c:pt idx="12">
                  <c:v>21</c:v>
                </c:pt>
                <c:pt idx="13">
                  <c:v>25</c:v>
                </c:pt>
                <c:pt idx="14">
                  <c:v>27</c:v>
                </c:pt>
                <c:pt idx="15">
                  <c:v>5</c:v>
                </c:pt>
                <c:pt idx="16">
                  <c:v>5</c:v>
                </c:pt>
                <c:pt idx="17">
                  <c:v>7</c:v>
                </c:pt>
                <c:pt idx="18">
                  <c:v>6</c:v>
                </c:pt>
                <c:pt idx="19">
                  <c:v>30</c:v>
                </c:pt>
                <c:pt idx="20">
                  <c:v>34</c:v>
                </c:pt>
                <c:pt idx="21">
                  <c:v>43</c:v>
                </c:pt>
                <c:pt idx="22">
                  <c:v>39</c:v>
                </c:pt>
                <c:pt idx="23">
                  <c:v>43</c:v>
                </c:pt>
                <c:pt idx="24">
                  <c:v>54</c:v>
                </c:pt>
                <c:pt idx="25">
                  <c:v>61</c:v>
                </c:pt>
                <c:pt idx="26">
                  <c:v>66</c:v>
                </c:pt>
                <c:pt idx="27">
                  <c:v>67</c:v>
                </c:pt>
                <c:pt idx="28">
                  <c:v>77</c:v>
                </c:pt>
                <c:pt idx="29">
                  <c:v>77</c:v>
                </c:pt>
                <c:pt idx="30">
                  <c:v>91</c:v>
                </c:pt>
                <c:pt idx="31">
                  <c:v>119</c:v>
                </c:pt>
                <c:pt idx="32">
                  <c:v>119</c:v>
                </c:pt>
                <c:pt idx="33">
                  <c:v>132</c:v>
                </c:pt>
                <c:pt idx="34">
                  <c:v>135</c:v>
                </c:pt>
                <c:pt idx="35">
                  <c:v>141</c:v>
                </c:pt>
                <c:pt idx="36">
                  <c:v>132</c:v>
                </c:pt>
                <c:pt idx="37">
                  <c:v>148</c:v>
                </c:pt>
                <c:pt idx="38">
                  <c:v>186</c:v>
                </c:pt>
                <c:pt idx="39">
                  <c:v>170</c:v>
                </c:pt>
                <c:pt idx="40">
                  <c:v>188</c:v>
                </c:pt>
                <c:pt idx="41">
                  <c:v>201</c:v>
                </c:pt>
                <c:pt idx="42">
                  <c:v>158</c:v>
                </c:pt>
                <c:pt idx="43">
                  <c:v>160</c:v>
                </c:pt>
                <c:pt idx="44">
                  <c:v>167</c:v>
                </c:pt>
                <c:pt idx="45">
                  <c:v>269</c:v>
                </c:pt>
                <c:pt idx="46">
                  <c:v>266</c:v>
                </c:pt>
                <c:pt idx="47">
                  <c:v>257</c:v>
                </c:pt>
                <c:pt idx="48">
                  <c:v>303</c:v>
                </c:pt>
                <c:pt idx="49">
                  <c:v>313</c:v>
                </c:pt>
                <c:pt idx="50">
                  <c:v>289</c:v>
                </c:pt>
                <c:pt idx="51">
                  <c:v>303</c:v>
                </c:pt>
                <c:pt idx="52">
                  <c:v>357</c:v>
                </c:pt>
                <c:pt idx="53">
                  <c:v>387</c:v>
                </c:pt>
                <c:pt idx="54">
                  <c:v>422</c:v>
                </c:pt>
                <c:pt idx="55">
                  <c:v>370</c:v>
                </c:pt>
                <c:pt idx="56">
                  <c:v>393</c:v>
                </c:pt>
                <c:pt idx="57">
                  <c:v>378</c:v>
                </c:pt>
                <c:pt idx="58">
                  <c:v>419</c:v>
                </c:pt>
                <c:pt idx="59">
                  <c:v>432</c:v>
                </c:pt>
                <c:pt idx="60">
                  <c:v>425</c:v>
                </c:pt>
                <c:pt idx="61">
                  <c:v>414</c:v>
                </c:pt>
                <c:pt idx="62">
                  <c:v>439</c:v>
                </c:pt>
                <c:pt idx="63">
                  <c:v>443</c:v>
                </c:pt>
                <c:pt idx="64">
                  <c:v>373</c:v>
                </c:pt>
                <c:pt idx="65">
                  <c:v>402</c:v>
                </c:pt>
                <c:pt idx="66">
                  <c:v>409</c:v>
                </c:pt>
                <c:pt idx="67">
                  <c:v>421</c:v>
                </c:pt>
                <c:pt idx="68">
                  <c:v>405</c:v>
                </c:pt>
                <c:pt idx="69">
                  <c:v>399</c:v>
                </c:pt>
                <c:pt idx="70">
                  <c:v>347</c:v>
                </c:pt>
                <c:pt idx="71">
                  <c:v>292</c:v>
                </c:pt>
                <c:pt idx="72">
                  <c:v>303</c:v>
                </c:pt>
                <c:pt idx="73">
                  <c:v>417</c:v>
                </c:pt>
                <c:pt idx="74">
                  <c:v>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1.91547725458173</c:v>
                </c:pt>
                <c:pt idx="43">
                  <c:v>260.34079873206213</c:v>
                </c:pt>
                <c:pt idx="44">
                  <c:v>268.73962182920451</c:v>
                </c:pt>
                <c:pt idx="45">
                  <c:v>276.81551758044122</c:v>
                </c:pt>
                <c:pt idx="46">
                  <c:v>284.2969437317455</c:v>
                </c:pt>
                <c:pt idx="47">
                  <c:v>291.29859620791206</c:v>
                </c:pt>
                <c:pt idx="48">
                  <c:v>298.06622733375178</c:v>
                </c:pt>
                <c:pt idx="49">
                  <c:v>304.72736888697068</c:v>
                </c:pt>
                <c:pt idx="50">
                  <c:v>311.25575432046787</c:v>
                </c:pt>
                <c:pt idx="51">
                  <c:v>317.96683569128919</c:v>
                </c:pt>
                <c:pt idx="52">
                  <c:v>324.43894148960163</c:v>
                </c:pt>
                <c:pt idx="53">
                  <c:v>329.9628681243853</c:v>
                </c:pt>
                <c:pt idx="54">
                  <c:v>334.99483464709579</c:v>
                </c:pt>
                <c:pt idx="55">
                  <c:v>339.8144915607698</c:v>
                </c:pt>
                <c:pt idx="56">
                  <c:v>344.52556357917388</c:v>
                </c:pt>
                <c:pt idx="57">
                  <c:v>349.16092903112326</c:v>
                </c:pt>
                <c:pt idx="58">
                  <c:v>353.71060632484148</c:v>
                </c:pt>
                <c:pt idx="59">
                  <c:v>358.11940289600227</c:v>
                </c:pt>
                <c:pt idx="60">
                  <c:v>362.15257827592114</c:v>
                </c:pt>
                <c:pt idx="61">
                  <c:v>365.87350591019197</c:v>
                </c:pt>
                <c:pt idx="62">
                  <c:v>369.31870039109543</c:v>
                </c:pt>
                <c:pt idx="63">
                  <c:v>372.51449262514438</c:v>
                </c:pt>
                <c:pt idx="64">
                  <c:v>375.43094206703051</c:v>
                </c:pt>
                <c:pt idx="65">
                  <c:v>378.12629877541667</c:v>
                </c:pt>
                <c:pt idx="66">
                  <c:v>380.55446796240034</c:v>
                </c:pt>
                <c:pt idx="67">
                  <c:v>382.72192664004035</c:v>
                </c:pt>
                <c:pt idx="68">
                  <c:v>384.5473428911755</c:v>
                </c:pt>
                <c:pt idx="69">
                  <c:v>386.06445852397479</c:v>
                </c:pt>
                <c:pt idx="70">
                  <c:v>387.31724512126266</c:v>
                </c:pt>
                <c:pt idx="71">
                  <c:v>388.1748888980739</c:v>
                </c:pt>
                <c:pt idx="72">
                  <c:v>388.73099153969315</c:v>
                </c:pt>
                <c:pt idx="73">
                  <c:v>388.99365335454365</c:v>
                </c:pt>
                <c:pt idx="74">
                  <c:v>388.90069914112507</c:v>
                </c:pt>
                <c:pt idx="75">
                  <c:v>388.47879488318495</c:v>
                </c:pt>
                <c:pt idx="76">
                  <c:v>387.73444948970581</c:v>
                </c:pt>
                <c:pt idx="77">
                  <c:v>386.70308038692815</c:v>
                </c:pt>
                <c:pt idx="78">
                  <c:v>385.28964693395989</c:v>
                </c:pt>
                <c:pt idx="79">
                  <c:v>383.58166053895354</c:v>
                </c:pt>
                <c:pt idx="80">
                  <c:v>381.57302542403767</c:v>
                </c:pt>
                <c:pt idx="81">
                  <c:v>379.20907536763821</c:v>
                </c:pt>
                <c:pt idx="82">
                  <c:v>376.51400936794727</c:v>
                </c:pt>
                <c:pt idx="83">
                  <c:v>373.56302824914644</c:v>
                </c:pt>
                <c:pt idx="84">
                  <c:v>370.32934173453054</c:v>
                </c:pt>
                <c:pt idx="85">
                  <c:v>366.76158302075032</c:v>
                </c:pt>
                <c:pt idx="86">
                  <c:v>362.99781713759478</c:v>
                </c:pt>
                <c:pt idx="87">
                  <c:v>359.0046418669798</c:v>
                </c:pt>
                <c:pt idx="88">
                  <c:v>354.62530137161957</c:v>
                </c:pt>
                <c:pt idx="89">
                  <c:v>350.062362648457</c:v>
                </c:pt>
                <c:pt idx="90">
                  <c:v>345.31716332418563</c:v>
                </c:pt>
                <c:pt idx="91">
                  <c:v>340.35383381074735</c:v>
                </c:pt>
                <c:pt idx="92">
                  <c:v>335.11028974664265</c:v>
                </c:pt>
                <c:pt idx="93">
                  <c:v>329.67800627508814</c:v>
                </c:pt>
                <c:pt idx="94">
                  <c:v>324.09532133658263</c:v>
                </c:pt>
                <c:pt idx="95">
                  <c:v>318.3443862835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2.51423968758419</c:v>
                </c:pt>
                <c:pt idx="43">
                  <c:v>261.75327926870835</c:v>
                </c:pt>
                <c:pt idx="44">
                  <c:v>271.19504574927583</c:v>
                </c:pt>
                <c:pt idx="45">
                  <c:v>280.54836413538447</c:v>
                </c:pt>
                <c:pt idx="46">
                  <c:v>289.55355000001987</c:v>
                </c:pt>
                <c:pt idx="47">
                  <c:v>298.32376260240869</c:v>
                </c:pt>
                <c:pt idx="48">
                  <c:v>307.1077915412954</c:v>
                </c:pt>
                <c:pt idx="49">
                  <c:v>316.02695719258145</c:v>
                </c:pt>
                <c:pt idx="50">
                  <c:v>325.05355270685754</c:v>
                </c:pt>
                <c:pt idx="51">
                  <c:v>334.49487516920226</c:v>
                </c:pt>
                <c:pt idx="52">
                  <c:v>343.92429720149198</c:v>
                </c:pt>
                <c:pt idx="53">
                  <c:v>352.62326254600976</c:v>
                </c:pt>
                <c:pt idx="54">
                  <c:v>361.04031470052303</c:v>
                </c:pt>
                <c:pt idx="55">
                  <c:v>369.4414308880726</c:v>
                </c:pt>
                <c:pt idx="56">
                  <c:v>377.91156898343706</c:v>
                </c:pt>
                <c:pt idx="57">
                  <c:v>386.45017094378079</c:v>
                </c:pt>
                <c:pt idx="58">
                  <c:v>395.03635123130584</c:v>
                </c:pt>
                <c:pt idx="59">
                  <c:v>403.59845127137271</c:v>
                </c:pt>
                <c:pt idx="60">
                  <c:v>411.89032380142112</c:v>
                </c:pt>
                <c:pt idx="61">
                  <c:v>419.953178235726</c:v>
                </c:pt>
                <c:pt idx="62">
                  <c:v>427.80696826811811</c:v>
                </c:pt>
                <c:pt idx="63">
                  <c:v>435.45876232041576</c:v>
                </c:pt>
                <c:pt idx="64">
                  <c:v>442.85464050848384</c:v>
                </c:pt>
                <c:pt idx="65">
                  <c:v>450.03255498457634</c:v>
                </c:pt>
                <c:pt idx="66">
                  <c:v>456.92963102419753</c:v>
                </c:pt>
                <c:pt idx="67">
                  <c:v>463.53291973921966</c:v>
                </c:pt>
                <c:pt idx="68">
                  <c:v>469.74376838506942</c:v>
                </c:pt>
                <c:pt idx="69">
                  <c:v>475.5778493921415</c:v>
                </c:pt>
                <c:pt idx="70">
                  <c:v>481.06044045865275</c:v>
                </c:pt>
                <c:pt idx="71">
                  <c:v>486.04280290056204</c:v>
                </c:pt>
                <c:pt idx="72">
                  <c:v>490.60020093109347</c:v>
                </c:pt>
                <c:pt idx="73">
                  <c:v>494.72459506505919</c:v>
                </c:pt>
                <c:pt idx="74">
                  <c:v>498.33880671414977</c:v>
                </c:pt>
                <c:pt idx="75">
                  <c:v>501.45482563202449</c:v>
                </c:pt>
                <c:pt idx="76">
                  <c:v>504.06544084551541</c:v>
                </c:pt>
                <c:pt idx="77">
                  <c:v>506.19432630034765</c:v>
                </c:pt>
                <c:pt idx="78">
                  <c:v>507.73468118382971</c:v>
                </c:pt>
                <c:pt idx="79">
                  <c:v>508.76444205074222</c:v>
                </c:pt>
                <c:pt idx="80">
                  <c:v>509.26880495408574</c:v>
                </c:pt>
                <c:pt idx="81">
                  <c:v>509.18567637574972</c:v>
                </c:pt>
                <c:pt idx="82">
                  <c:v>508.5325555554781</c:v>
                </c:pt>
                <c:pt idx="83">
                  <c:v>507.38021952517761</c:v>
                </c:pt>
                <c:pt idx="84">
                  <c:v>505.69841787689325</c:v>
                </c:pt>
                <c:pt idx="85">
                  <c:v>503.43365386824263</c:v>
                </c:pt>
                <c:pt idx="86">
                  <c:v>500.7231751562548</c:v>
                </c:pt>
                <c:pt idx="87">
                  <c:v>497.53401998753054</c:v>
                </c:pt>
                <c:pt idx="88">
                  <c:v>493.71050455954077</c:v>
                </c:pt>
                <c:pt idx="89">
                  <c:v>489.45839127808017</c:v>
                </c:pt>
                <c:pt idx="90">
                  <c:v>484.78237081076304</c:v>
                </c:pt>
                <c:pt idx="91">
                  <c:v>479.65135187106296</c:v>
                </c:pt>
                <c:pt idx="92">
                  <c:v>474.00119355049571</c:v>
                </c:pt>
                <c:pt idx="93">
                  <c:v>467.93529445641548</c:v>
                </c:pt>
                <c:pt idx="94">
                  <c:v>461.49934755531768</c:v>
                </c:pt>
                <c:pt idx="95">
                  <c:v>454.68363849850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3.11680479126989</c:v>
                </c:pt>
                <c:pt idx="43">
                  <c:v>263.17934414960973</c:v>
                </c:pt>
                <c:pt idx="44">
                  <c:v>273.68363053630878</c:v>
                </c:pt>
                <c:pt idx="45">
                  <c:v>284.3481162517914</c:v>
                </c:pt>
                <c:pt idx="46">
                  <c:v>294.92980829780186</c:v>
                </c:pt>
                <c:pt idx="47">
                  <c:v>305.54543399459612</c:v>
                </c:pt>
                <c:pt idx="48">
                  <c:v>316.4521418635336</c:v>
                </c:pt>
                <c:pt idx="49">
                  <c:v>327.77041387170624</c:v>
                </c:pt>
                <c:pt idx="50">
                  <c:v>339.4764331571771</c:v>
                </c:pt>
                <c:pt idx="51">
                  <c:v>351.87448611297839</c:v>
                </c:pt>
                <c:pt idx="52">
                  <c:v>364.53785690691666</c:v>
                </c:pt>
                <c:pt idx="53">
                  <c:v>376.7430632569459</c:v>
                </c:pt>
                <c:pt idx="54">
                  <c:v>388.93488599567866</c:v>
                </c:pt>
                <c:pt idx="55">
                  <c:v>401.36889677755693</c:v>
                </c:pt>
                <c:pt idx="56">
                  <c:v>414.11384315109024</c:v>
                </c:pt>
                <c:pt idx="57">
                  <c:v>427.1373531396485</c:v>
                </c:pt>
                <c:pt idx="58">
                  <c:v>440.4084228702493</c:v>
                </c:pt>
                <c:pt idx="59">
                  <c:v>453.83875371876474</c:v>
                </c:pt>
                <c:pt idx="60">
                  <c:v>467.16958788703749</c:v>
                </c:pt>
                <c:pt idx="61">
                  <c:v>480.41766366980909</c:v>
                </c:pt>
                <c:pt idx="62">
                  <c:v>493.58298728236105</c:v>
                </c:pt>
                <c:pt idx="63">
                  <c:v>506.64891079240283</c:v>
                </c:pt>
                <c:pt idx="64">
                  <c:v>519.53200896314854</c:v>
                </c:pt>
                <c:pt idx="65">
                  <c:v>532.24351533914501</c:v>
                </c:pt>
                <c:pt idx="66">
                  <c:v>544.69652462520298</c:v>
                </c:pt>
                <c:pt idx="67">
                  <c:v>556.850483986227</c:v>
                </c:pt>
                <c:pt idx="68">
                  <c:v>568.58045460927008</c:v>
                </c:pt>
                <c:pt idx="69">
                  <c:v>579.874390319035</c:v>
                </c:pt>
                <c:pt idx="70">
                  <c:v>590.72867704682005</c:v>
                </c:pt>
                <c:pt idx="71">
                  <c:v>600.96603374726124</c:v>
                </c:pt>
                <c:pt idx="72">
                  <c:v>610.63253869761274</c:v>
                </c:pt>
                <c:pt idx="73">
                  <c:v>619.69307160503763</c:v>
                </c:pt>
                <c:pt idx="74">
                  <c:v>628.04453255893156</c:v>
                </c:pt>
                <c:pt idx="75">
                  <c:v>635.67348380019234</c:v>
                </c:pt>
                <c:pt idx="76">
                  <c:v>642.54856209127593</c:v>
                </c:pt>
                <c:pt idx="77">
                  <c:v>648.67173417437346</c:v>
                </c:pt>
                <c:pt idx="78">
                  <c:v>653.91507804367529</c:v>
                </c:pt>
                <c:pt idx="79">
                  <c:v>658.3383300011958</c:v>
                </c:pt>
                <c:pt idx="80">
                  <c:v>661.9101937672566</c:v>
                </c:pt>
                <c:pt idx="81">
                  <c:v>664.55430653932376</c:v>
                </c:pt>
                <c:pt idx="82">
                  <c:v>666.27565510042382</c:v>
                </c:pt>
                <c:pt idx="83">
                  <c:v>667.13588569180354</c:v>
                </c:pt>
                <c:pt idx="84">
                  <c:v>667.09773777354224</c:v>
                </c:pt>
                <c:pt idx="85">
                  <c:v>666.10322589503767</c:v>
                </c:pt>
                <c:pt idx="86">
                  <c:v>664.28762842632682</c:v>
                </c:pt>
                <c:pt idx="87">
                  <c:v>661.61847386195188</c:v>
                </c:pt>
                <c:pt idx="88">
                  <c:v>657.9423790921511</c:v>
                </c:pt>
                <c:pt idx="89">
                  <c:v>653.47068046502307</c:v>
                </c:pt>
                <c:pt idx="90">
                  <c:v>648.21489407766558</c:v>
                </c:pt>
                <c:pt idx="91">
                  <c:v>642.15321190793031</c:v>
                </c:pt>
                <c:pt idx="92">
                  <c:v>635.22484749471118</c:v>
                </c:pt>
                <c:pt idx="93">
                  <c:v>627.55141949061067</c:v>
                </c:pt>
                <c:pt idx="94">
                  <c:v>619.19302040951868</c:v>
                </c:pt>
                <c:pt idx="95">
                  <c:v>610.15577246883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7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9</c:v>
                </c:pt>
                <c:pt idx="18">
                  <c:v>20</c:v>
                </c:pt>
                <c:pt idx="19">
                  <c:v>22</c:v>
                </c:pt>
                <c:pt idx="20">
                  <c:v>21</c:v>
                </c:pt>
                <c:pt idx="21">
                  <c:v>21</c:v>
                </c:pt>
                <c:pt idx="22">
                  <c:v>24</c:v>
                </c:pt>
                <c:pt idx="23">
                  <c:v>27</c:v>
                </c:pt>
                <c:pt idx="24">
                  <c:v>26</c:v>
                </c:pt>
                <c:pt idx="25">
                  <c:v>29</c:v>
                </c:pt>
                <c:pt idx="26">
                  <c:v>31</c:v>
                </c:pt>
                <c:pt idx="27">
                  <c:v>28</c:v>
                </c:pt>
                <c:pt idx="28">
                  <c:v>30</c:v>
                </c:pt>
                <c:pt idx="29">
                  <c:v>32</c:v>
                </c:pt>
                <c:pt idx="30">
                  <c:v>33</c:v>
                </c:pt>
                <c:pt idx="31">
                  <c:v>33</c:v>
                </c:pt>
                <c:pt idx="32">
                  <c:v>37</c:v>
                </c:pt>
                <c:pt idx="33">
                  <c:v>37</c:v>
                </c:pt>
                <c:pt idx="34">
                  <c:v>36</c:v>
                </c:pt>
                <c:pt idx="35">
                  <c:v>39</c:v>
                </c:pt>
                <c:pt idx="36">
                  <c:v>45</c:v>
                </c:pt>
                <c:pt idx="37">
                  <c:v>46</c:v>
                </c:pt>
                <c:pt idx="38">
                  <c:v>57</c:v>
                </c:pt>
                <c:pt idx="39">
                  <c:v>55</c:v>
                </c:pt>
                <c:pt idx="40">
                  <c:v>64</c:v>
                </c:pt>
                <c:pt idx="41">
                  <c:v>63</c:v>
                </c:pt>
                <c:pt idx="42">
                  <c:v>74</c:v>
                </c:pt>
                <c:pt idx="43">
                  <c:v>78</c:v>
                </c:pt>
                <c:pt idx="44">
                  <c:v>87</c:v>
                </c:pt>
                <c:pt idx="45">
                  <c:v>99</c:v>
                </c:pt>
                <c:pt idx="46">
                  <c:v>104</c:v>
                </c:pt>
                <c:pt idx="47">
                  <c:v>117</c:v>
                </c:pt>
                <c:pt idx="48">
                  <c:v>127</c:v>
                </c:pt>
                <c:pt idx="49">
                  <c:v>119</c:v>
                </c:pt>
                <c:pt idx="50">
                  <c:v>119</c:v>
                </c:pt>
                <c:pt idx="51">
                  <c:v>129</c:v>
                </c:pt>
                <c:pt idx="52">
                  <c:v>154</c:v>
                </c:pt>
                <c:pt idx="53">
                  <c:v>148</c:v>
                </c:pt>
                <c:pt idx="54">
                  <c:v>148</c:v>
                </c:pt>
                <c:pt idx="55">
                  <c:v>154</c:v>
                </c:pt>
                <c:pt idx="56">
                  <c:v>152</c:v>
                </c:pt>
                <c:pt idx="57">
                  <c:v>158</c:v>
                </c:pt>
                <c:pt idx="58">
                  <c:v>172</c:v>
                </c:pt>
                <c:pt idx="59">
                  <c:v>198</c:v>
                </c:pt>
                <c:pt idx="60">
                  <c:v>192</c:v>
                </c:pt>
                <c:pt idx="61">
                  <c:v>200</c:v>
                </c:pt>
                <c:pt idx="62">
                  <c:v>205</c:v>
                </c:pt>
                <c:pt idx="63">
                  <c:v>209</c:v>
                </c:pt>
                <c:pt idx="64">
                  <c:v>202</c:v>
                </c:pt>
                <c:pt idx="65">
                  <c:v>211</c:v>
                </c:pt>
                <c:pt idx="66">
                  <c:v>224</c:v>
                </c:pt>
                <c:pt idx="67">
                  <c:v>222</c:v>
                </c:pt>
                <c:pt idx="68">
                  <c:v>213</c:v>
                </c:pt>
                <c:pt idx="69">
                  <c:v>213</c:v>
                </c:pt>
                <c:pt idx="70">
                  <c:v>208</c:v>
                </c:pt>
                <c:pt idx="71">
                  <c:v>194</c:v>
                </c:pt>
                <c:pt idx="72">
                  <c:v>195</c:v>
                </c:pt>
                <c:pt idx="73">
                  <c:v>196</c:v>
                </c:pt>
                <c:pt idx="74">
                  <c:v>1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973760133644276</c:v>
                </c:pt>
                <c:pt idx="43">
                  <c:v>100.18736274940869</c:v>
                </c:pt>
                <c:pt idx="44">
                  <c:v>103.39131694514951</c:v>
                </c:pt>
                <c:pt idx="45">
                  <c:v>106.46979845436195</c:v>
                </c:pt>
                <c:pt idx="46">
                  <c:v>109.31577390656142</c:v>
                </c:pt>
                <c:pt idx="47">
                  <c:v>111.97642582408461</c:v>
                </c:pt>
                <c:pt idx="48">
                  <c:v>114.55052676912959</c:v>
                </c:pt>
                <c:pt idx="49">
                  <c:v>117.08674233414692</c:v>
                </c:pt>
                <c:pt idx="50">
                  <c:v>119.57364574162426</c:v>
                </c:pt>
                <c:pt idx="51">
                  <c:v>122.13445415081742</c:v>
                </c:pt>
                <c:pt idx="52">
                  <c:v>124.60649861096783</c:v>
                </c:pt>
                <c:pt idx="53">
                  <c:v>126.71354705423823</c:v>
                </c:pt>
                <c:pt idx="54">
                  <c:v>128.63072807878245</c:v>
                </c:pt>
                <c:pt idx="55">
                  <c:v>130.46894671347107</c:v>
                </c:pt>
                <c:pt idx="56">
                  <c:v>132.26816593271491</c:v>
                </c:pt>
                <c:pt idx="57">
                  <c:v>134.04246147207419</c:v>
                </c:pt>
                <c:pt idx="58">
                  <c:v>135.78531974864191</c:v>
                </c:pt>
                <c:pt idx="59">
                  <c:v>137.47570367417552</c:v>
                </c:pt>
                <c:pt idx="60">
                  <c:v>139.02467850203959</c:v>
                </c:pt>
                <c:pt idx="61">
                  <c:v>140.45401395872526</c:v>
                </c:pt>
                <c:pt idx="62">
                  <c:v>141.77880072708723</c:v>
                </c:pt>
                <c:pt idx="63">
                  <c:v>143.00895600829875</c:v>
                </c:pt>
                <c:pt idx="64">
                  <c:v>144.13258925786116</c:v>
                </c:pt>
                <c:pt idx="65">
                  <c:v>145.1721762558382</c:v>
                </c:pt>
                <c:pt idx="66">
                  <c:v>146.10983822142117</c:v>
                </c:pt>
                <c:pt idx="67">
                  <c:v>146.94868499861315</c:v>
                </c:pt>
                <c:pt idx="68">
                  <c:v>147.656469763404</c:v>
                </c:pt>
                <c:pt idx="69">
                  <c:v>148.24699685286953</c:v>
                </c:pt>
                <c:pt idx="70">
                  <c:v>148.7361307002233</c:v>
                </c:pt>
                <c:pt idx="71">
                  <c:v>149.07355162075859</c:v>
                </c:pt>
                <c:pt idx="72">
                  <c:v>149.29506187695333</c:v>
                </c:pt>
                <c:pt idx="73">
                  <c:v>149.40419220565113</c:v>
                </c:pt>
                <c:pt idx="74">
                  <c:v>149.37771383653174</c:v>
                </c:pt>
                <c:pt idx="75">
                  <c:v>149.22505655921165</c:v>
                </c:pt>
                <c:pt idx="76">
                  <c:v>148.94918846775164</c:v>
                </c:pt>
                <c:pt idx="77">
                  <c:v>148.5627021658913</c:v>
                </c:pt>
                <c:pt idx="78">
                  <c:v>148.02967411616916</c:v>
                </c:pt>
                <c:pt idx="79">
                  <c:v>147.38295037305795</c:v>
                </c:pt>
                <c:pt idx="80">
                  <c:v>146.62103954371028</c:v>
                </c:pt>
                <c:pt idx="81">
                  <c:v>145.72388968580086</c:v>
                </c:pt>
                <c:pt idx="82">
                  <c:v>144.69924413596922</c:v>
                </c:pt>
                <c:pt idx="83">
                  <c:v>143.57638639232624</c:v>
                </c:pt>
                <c:pt idx="84">
                  <c:v>142.34484350814051</c:v>
                </c:pt>
                <c:pt idx="85">
                  <c:v>140.98431679011372</c:v>
                </c:pt>
                <c:pt idx="86">
                  <c:v>139.54774213596531</c:v>
                </c:pt>
                <c:pt idx="87">
                  <c:v>138.02271038132403</c:v>
                </c:pt>
                <c:pt idx="88">
                  <c:v>136.35123124734048</c:v>
                </c:pt>
                <c:pt idx="89">
                  <c:v>134.60880717399789</c:v>
                </c:pt>
                <c:pt idx="90">
                  <c:v>132.79610420135623</c:v>
                </c:pt>
                <c:pt idx="91">
                  <c:v>130.89955737464939</c:v>
                </c:pt>
                <c:pt idx="92">
                  <c:v>128.89491352033858</c:v>
                </c:pt>
                <c:pt idx="93">
                  <c:v>126.8176053108549</c:v>
                </c:pt>
                <c:pt idx="94">
                  <c:v>124.68262133794336</c:v>
                </c:pt>
                <c:pt idx="95">
                  <c:v>122.48286553534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7.202106734923433</c:v>
                </c:pt>
                <c:pt idx="43">
                  <c:v>100.726008454151</c:v>
                </c:pt>
                <c:pt idx="44">
                  <c:v>104.32779562973087</c:v>
                </c:pt>
                <c:pt idx="45">
                  <c:v>107.89376826774421</c:v>
                </c:pt>
                <c:pt idx="46">
                  <c:v>111.32140749616576</c:v>
                </c:pt>
                <c:pt idx="47">
                  <c:v>114.65741857506831</c:v>
                </c:pt>
                <c:pt idx="48">
                  <c:v>118.00179759063731</c:v>
                </c:pt>
                <c:pt idx="49">
                  <c:v>121.4008889090872</c:v>
                </c:pt>
                <c:pt idx="50">
                  <c:v>124.84277980445326</c:v>
                </c:pt>
                <c:pt idx="51">
                  <c:v>128.44763493556562</c:v>
                </c:pt>
                <c:pt idx="52">
                  <c:v>132.05098673218671</c:v>
                </c:pt>
                <c:pt idx="53">
                  <c:v>135.37304404644459</c:v>
                </c:pt>
                <c:pt idx="54">
                  <c:v>138.5860052859378</c:v>
                </c:pt>
                <c:pt idx="55">
                  <c:v>141.79565999333906</c:v>
                </c:pt>
                <c:pt idx="56">
                  <c:v>145.03485176727685</c:v>
                </c:pt>
                <c:pt idx="57">
                  <c:v>148.30480674902051</c:v>
                </c:pt>
                <c:pt idx="58">
                  <c:v>151.59485558346205</c:v>
                </c:pt>
                <c:pt idx="59">
                  <c:v>154.87766988213073</c:v>
                </c:pt>
                <c:pt idx="60">
                  <c:v>158.05998111301091</c:v>
                </c:pt>
                <c:pt idx="61">
                  <c:v>161.1550614955062</c:v>
                </c:pt>
                <c:pt idx="62">
                  <c:v>164.17167195999735</c:v>
                </c:pt>
                <c:pt idx="63">
                  <c:v>167.1122905683323</c:v>
                </c:pt>
                <c:pt idx="64">
                  <c:v>169.95589686783518</c:v>
                </c:pt>
                <c:pt idx="65">
                  <c:v>172.71713823118469</c:v>
                </c:pt>
                <c:pt idx="66">
                  <c:v>175.37169271802634</c:v>
                </c:pt>
                <c:pt idx="67">
                  <c:v>177.91520035103565</c:v>
                </c:pt>
                <c:pt idx="68">
                  <c:v>180.30875105691129</c:v>
                </c:pt>
                <c:pt idx="69">
                  <c:v>182.55920296093774</c:v>
                </c:pt>
                <c:pt idx="70">
                  <c:v>184.67522234101153</c:v>
                </c:pt>
                <c:pt idx="71">
                  <c:v>186.59959952057838</c:v>
                </c:pt>
                <c:pt idx="72">
                  <c:v>188.36106843104761</c:v>
                </c:pt>
                <c:pt idx="73">
                  <c:v>189.95697075542071</c:v>
                </c:pt>
                <c:pt idx="74">
                  <c:v>191.35826962437534</c:v>
                </c:pt>
                <c:pt idx="75">
                  <c:v>192.56873115539764</c:v>
                </c:pt>
                <c:pt idx="76">
                  <c:v>193.58602480536339</c:v>
                </c:pt>
                <c:pt idx="77">
                  <c:v>194.41820970480171</c:v>
                </c:pt>
                <c:pt idx="78">
                  <c:v>195.02482373700701</c:v>
                </c:pt>
                <c:pt idx="79">
                  <c:v>195.43499918218066</c:v>
                </c:pt>
                <c:pt idx="80">
                  <c:v>195.64386788310682</c:v>
                </c:pt>
                <c:pt idx="81">
                  <c:v>195.62849212086647</c:v>
                </c:pt>
                <c:pt idx="82">
                  <c:v>195.39401649546375</c:v>
                </c:pt>
                <c:pt idx="83">
                  <c:v>194.96798648145992</c:v>
                </c:pt>
                <c:pt idx="84">
                  <c:v>194.33856648914423</c:v>
                </c:pt>
                <c:pt idx="85">
                  <c:v>193.48460629331697</c:v>
                </c:pt>
                <c:pt idx="86">
                  <c:v>192.45869481406572</c:v>
                </c:pt>
                <c:pt idx="87">
                  <c:v>191.24855974562632</c:v>
                </c:pt>
                <c:pt idx="88">
                  <c:v>189.7965993600227</c:v>
                </c:pt>
                <c:pt idx="89">
                  <c:v>188.17950817604171</c:v>
                </c:pt>
                <c:pt idx="90">
                  <c:v>186.39921976587357</c:v>
                </c:pt>
                <c:pt idx="91">
                  <c:v>184.44398072600546</c:v>
                </c:pt>
                <c:pt idx="92">
                  <c:v>182.28883490466291</c:v>
                </c:pt>
                <c:pt idx="93">
                  <c:v>179.97370200434281</c:v>
                </c:pt>
                <c:pt idx="94">
                  <c:v>177.51638018843155</c:v>
                </c:pt>
                <c:pt idx="95">
                  <c:v>174.91288409082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7.431904908557783</c:v>
                </c:pt>
                <c:pt idx="43">
                  <c:v>101.26983799492268</c:v>
                </c:pt>
                <c:pt idx="44">
                  <c:v>105.27692710649335</c:v>
                </c:pt>
                <c:pt idx="45">
                  <c:v>109.34326627315525</c:v>
                </c:pt>
                <c:pt idx="46">
                  <c:v>113.37269744139311</c:v>
                </c:pt>
                <c:pt idx="47">
                  <c:v>117.41340032879185</c:v>
                </c:pt>
                <c:pt idx="48">
                  <c:v>121.56863070430063</c:v>
                </c:pt>
                <c:pt idx="49">
                  <c:v>125.88446920008715</c:v>
                </c:pt>
                <c:pt idx="50">
                  <c:v>130.35056040505077</c:v>
                </c:pt>
                <c:pt idx="51">
                  <c:v>135.0859907813859</c:v>
                </c:pt>
                <c:pt idx="52">
                  <c:v>139.92636506643146</c:v>
                </c:pt>
                <c:pt idx="53">
                  <c:v>144.590037455405</c:v>
                </c:pt>
                <c:pt idx="54">
                  <c:v>149.24778599750348</c:v>
                </c:pt>
                <c:pt idx="55">
                  <c:v>154.00155011892852</c:v>
                </c:pt>
                <c:pt idx="56">
                  <c:v>158.87804890925457</c:v>
                </c:pt>
                <c:pt idx="57">
                  <c:v>163.86629742113655</c:v>
                </c:pt>
                <c:pt idx="58">
                  <c:v>168.95178982771534</c:v>
                </c:pt>
                <c:pt idx="59">
                  <c:v>174.10085884489916</c:v>
                </c:pt>
                <c:pt idx="60">
                  <c:v>179.2154607275877</c:v>
                </c:pt>
                <c:pt idx="61">
                  <c:v>184.29950603515459</c:v>
                </c:pt>
                <c:pt idx="62">
                  <c:v>189.35414809092242</c:v>
                </c:pt>
                <c:pt idx="63">
                  <c:v>194.37273802369322</c:v>
                </c:pt>
                <c:pt idx="64">
                  <c:v>199.32302634907933</c:v>
                </c:pt>
                <c:pt idx="65">
                  <c:v>204.20938813366695</c:v>
                </c:pt>
                <c:pt idx="66">
                  <c:v>208.99829424356193</c:v>
                </c:pt>
                <c:pt idx="67">
                  <c:v>213.67479290265339</c:v>
                </c:pt>
                <c:pt idx="68">
                  <c:v>218.18988428761423</c:v>
                </c:pt>
                <c:pt idx="69">
                  <c:v>222.53978866478744</c:v>
                </c:pt>
                <c:pt idx="70">
                  <c:v>226.72206899554698</c:v>
                </c:pt>
                <c:pt idx="71">
                  <c:v>230.66855653684311</c:v>
                </c:pt>
                <c:pt idx="72">
                  <c:v>234.39675573550346</c:v>
                </c:pt>
                <c:pt idx="73">
                  <c:v>237.8936191938231</c:v>
                </c:pt>
                <c:pt idx="74">
                  <c:v>241.12010702837034</c:v>
                </c:pt>
                <c:pt idx="75">
                  <c:v>244.07018717638454</c:v>
                </c:pt>
                <c:pt idx="76">
                  <c:v>246.73221477743704</c:v>
                </c:pt>
                <c:pt idx="77">
                  <c:v>249.10587625446033</c:v>
                </c:pt>
                <c:pt idx="78">
                  <c:v>251.14255981048234</c:v>
                </c:pt>
                <c:pt idx="79">
                  <c:v>252.86435218812733</c:v>
                </c:pt>
                <c:pt idx="80">
                  <c:v>254.25999689278456</c:v>
                </c:pt>
                <c:pt idx="81">
                  <c:v>255.30101811589896</c:v>
                </c:pt>
                <c:pt idx="82">
                  <c:v>255.98770256191906</c:v>
                </c:pt>
                <c:pt idx="83">
                  <c:v>256.34402137621595</c:v>
                </c:pt>
                <c:pt idx="84">
                  <c:v>256.35538303043859</c:v>
                </c:pt>
                <c:pt idx="85">
                  <c:v>255.99884906884762</c:v>
                </c:pt>
                <c:pt idx="86">
                  <c:v>255.32618778902653</c:v>
                </c:pt>
                <c:pt idx="87">
                  <c:v>254.32525163579976</c:v>
                </c:pt>
                <c:pt idx="88">
                  <c:v>252.93926859965296</c:v>
                </c:pt>
                <c:pt idx="89">
                  <c:v>251.24700894687879</c:v>
                </c:pt>
                <c:pt idx="90">
                  <c:v>249.25297895545475</c:v>
                </c:pt>
                <c:pt idx="91">
                  <c:v>246.94894024679567</c:v>
                </c:pt>
                <c:pt idx="92">
                  <c:v>244.31128789760157</c:v>
                </c:pt>
                <c:pt idx="93">
                  <c:v>241.38682507559176</c:v>
                </c:pt>
                <c:pt idx="94">
                  <c:v>238.19884613223775</c:v>
                </c:pt>
                <c:pt idx="95">
                  <c:v>234.749418567212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  <c:pt idx="7">
                  <c:v>6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9</c:v>
                </c:pt>
                <c:pt idx="12">
                  <c:v>10</c:v>
                </c:pt>
                <c:pt idx="13">
                  <c:v>9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9</c:v>
                </c:pt>
                <c:pt idx="18">
                  <c:v>12</c:v>
                </c:pt>
                <c:pt idx="19">
                  <c:v>10</c:v>
                </c:pt>
                <c:pt idx="20">
                  <c:v>9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5</c:v>
                </c:pt>
                <c:pt idx="26">
                  <c:v>14</c:v>
                </c:pt>
                <c:pt idx="27">
                  <c:v>15</c:v>
                </c:pt>
                <c:pt idx="28">
                  <c:v>19</c:v>
                </c:pt>
                <c:pt idx="29">
                  <c:v>25</c:v>
                </c:pt>
                <c:pt idx="30">
                  <c:v>27</c:v>
                </c:pt>
                <c:pt idx="31">
                  <c:v>41</c:v>
                </c:pt>
                <c:pt idx="32">
                  <c:v>43</c:v>
                </c:pt>
                <c:pt idx="33">
                  <c:v>50</c:v>
                </c:pt>
                <c:pt idx="34">
                  <c:v>54</c:v>
                </c:pt>
                <c:pt idx="35">
                  <c:v>63</c:v>
                </c:pt>
                <c:pt idx="36">
                  <c:v>59</c:v>
                </c:pt>
                <c:pt idx="37">
                  <c:v>63</c:v>
                </c:pt>
                <c:pt idx="38">
                  <c:v>83</c:v>
                </c:pt>
                <c:pt idx="39">
                  <c:v>110</c:v>
                </c:pt>
                <c:pt idx="40">
                  <c:v>110</c:v>
                </c:pt>
                <c:pt idx="41">
                  <c:v>109</c:v>
                </c:pt>
                <c:pt idx="42">
                  <c:v>124</c:v>
                </c:pt>
                <c:pt idx="43">
                  <c:v>101</c:v>
                </c:pt>
                <c:pt idx="44">
                  <c:v>103</c:v>
                </c:pt>
                <c:pt idx="45">
                  <c:v>143</c:v>
                </c:pt>
                <c:pt idx="46">
                  <c:v>180</c:v>
                </c:pt>
                <c:pt idx="47">
                  <c:v>171</c:v>
                </c:pt>
                <c:pt idx="48">
                  <c:v>187</c:v>
                </c:pt>
                <c:pt idx="49">
                  <c:v>221</c:v>
                </c:pt>
                <c:pt idx="50">
                  <c:v>214</c:v>
                </c:pt>
                <c:pt idx="51">
                  <c:v>220</c:v>
                </c:pt>
                <c:pt idx="52">
                  <c:v>251</c:v>
                </c:pt>
                <c:pt idx="53">
                  <c:v>255</c:v>
                </c:pt>
                <c:pt idx="54">
                  <c:v>272</c:v>
                </c:pt>
                <c:pt idx="55">
                  <c:v>272</c:v>
                </c:pt>
                <c:pt idx="56">
                  <c:v>272</c:v>
                </c:pt>
                <c:pt idx="57">
                  <c:v>279</c:v>
                </c:pt>
                <c:pt idx="58">
                  <c:v>290</c:v>
                </c:pt>
                <c:pt idx="59">
                  <c:v>311</c:v>
                </c:pt>
                <c:pt idx="60">
                  <c:v>293</c:v>
                </c:pt>
                <c:pt idx="61">
                  <c:v>298</c:v>
                </c:pt>
                <c:pt idx="62">
                  <c:v>298</c:v>
                </c:pt>
                <c:pt idx="63">
                  <c:v>298</c:v>
                </c:pt>
                <c:pt idx="64">
                  <c:v>265</c:v>
                </c:pt>
                <c:pt idx="65">
                  <c:v>282</c:v>
                </c:pt>
                <c:pt idx="66">
                  <c:v>299</c:v>
                </c:pt>
                <c:pt idx="67">
                  <c:v>300</c:v>
                </c:pt>
                <c:pt idx="68">
                  <c:v>278</c:v>
                </c:pt>
                <c:pt idx="69">
                  <c:v>282</c:v>
                </c:pt>
                <c:pt idx="70">
                  <c:v>276</c:v>
                </c:pt>
                <c:pt idx="71">
                  <c:v>251</c:v>
                </c:pt>
                <c:pt idx="72">
                  <c:v>258</c:v>
                </c:pt>
                <c:pt idx="73">
                  <c:v>279</c:v>
                </c:pt>
                <c:pt idx="74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3.14206648730593</c:v>
                </c:pt>
                <c:pt idx="43">
                  <c:v>168.14653910929835</c:v>
                </c:pt>
                <c:pt idx="44">
                  <c:v>173.14225228832584</c:v>
                </c:pt>
                <c:pt idx="45">
                  <c:v>177.91113274009575</c:v>
                </c:pt>
                <c:pt idx="46">
                  <c:v>182.23921419999974</c:v>
                </c:pt>
                <c:pt idx="47">
                  <c:v>186.24690039624491</c:v>
                </c:pt>
                <c:pt idx="48">
                  <c:v>190.15682446437972</c:v>
                </c:pt>
                <c:pt idx="49">
                  <c:v>194.04507516723893</c:v>
                </c:pt>
                <c:pt idx="50">
                  <c:v>197.87462034225888</c:v>
                </c:pt>
                <c:pt idx="51">
                  <c:v>201.87691863549415</c:v>
                </c:pt>
                <c:pt idx="52">
                  <c:v>205.77359139876606</c:v>
                </c:pt>
                <c:pt idx="53">
                  <c:v>209.05623862513804</c:v>
                </c:pt>
                <c:pt idx="54">
                  <c:v>212.01283927741278</c:v>
                </c:pt>
                <c:pt idx="55">
                  <c:v>214.87403120431921</c:v>
                </c:pt>
                <c:pt idx="56">
                  <c:v>217.70751376412593</c:v>
                </c:pt>
                <c:pt idx="57">
                  <c:v>220.55618039501832</c:v>
                </c:pt>
                <c:pt idx="58">
                  <c:v>223.37291399289009</c:v>
                </c:pt>
                <c:pt idx="59">
                  <c:v>226.12515298210837</c:v>
                </c:pt>
                <c:pt idx="60">
                  <c:v>228.68260399464742</c:v>
                </c:pt>
                <c:pt idx="61">
                  <c:v>231.04634923342127</c:v>
                </c:pt>
                <c:pt idx="62">
                  <c:v>233.25578051571799</c:v>
                </c:pt>
                <c:pt idx="63">
                  <c:v>235.32462052272888</c:v>
                </c:pt>
                <c:pt idx="64">
                  <c:v>237.22792370915616</c:v>
                </c:pt>
                <c:pt idx="65">
                  <c:v>239.00421483992733</c:v>
                </c:pt>
                <c:pt idx="66">
                  <c:v>240.62159121856723</c:v>
                </c:pt>
                <c:pt idx="67">
                  <c:v>242.0936305691921</c:v>
                </c:pt>
                <c:pt idx="68">
                  <c:v>243.35337950346801</c:v>
                </c:pt>
                <c:pt idx="69">
                  <c:v>244.43510160906158</c:v>
                </c:pt>
                <c:pt idx="70">
                  <c:v>245.35110709708033</c:v>
                </c:pt>
                <c:pt idx="71">
                  <c:v>246.01723575725302</c:v>
                </c:pt>
                <c:pt idx="72">
                  <c:v>246.49061499271119</c:v>
                </c:pt>
                <c:pt idx="73">
                  <c:v>246.78276930873906</c:v>
                </c:pt>
                <c:pt idx="74">
                  <c:v>246.86416756985429</c:v>
                </c:pt>
                <c:pt idx="75">
                  <c:v>246.73936854544741</c:v>
                </c:pt>
                <c:pt idx="76">
                  <c:v>246.41962646925367</c:v>
                </c:pt>
                <c:pt idx="77">
                  <c:v>245.91203227035277</c:v>
                </c:pt>
                <c:pt idx="78">
                  <c:v>245.16511105145349</c:v>
                </c:pt>
                <c:pt idx="79">
                  <c:v>244.22273544771323</c:v>
                </c:pt>
                <c:pt idx="80">
                  <c:v>243.09397225228903</c:v>
                </c:pt>
                <c:pt idx="81">
                  <c:v>241.75851004939341</c:v>
                </c:pt>
                <c:pt idx="82">
                  <c:v>240.20809671137437</c:v>
                </c:pt>
                <c:pt idx="83">
                  <c:v>238.49653521716058</c:v>
                </c:pt>
                <c:pt idx="84">
                  <c:v>236.60403874949128</c:v>
                </c:pt>
                <c:pt idx="85">
                  <c:v>234.48934784227714</c:v>
                </c:pt>
                <c:pt idx="86">
                  <c:v>232.2386534921751</c:v>
                </c:pt>
                <c:pt idx="87">
                  <c:v>229.83715557409374</c:v>
                </c:pt>
                <c:pt idx="88">
                  <c:v>227.21913585811981</c:v>
                </c:pt>
                <c:pt idx="89">
                  <c:v>224.47811366070272</c:v>
                </c:pt>
                <c:pt idx="90">
                  <c:v>221.61725521909065</c:v>
                </c:pt>
                <c:pt idx="91">
                  <c:v>218.6170276231116</c:v>
                </c:pt>
                <c:pt idx="92">
                  <c:v>215.43183607813808</c:v>
                </c:pt>
                <c:pt idx="93">
                  <c:v>212.12426431606866</c:v>
                </c:pt>
                <c:pt idx="94">
                  <c:v>208.72264924710805</c:v>
                </c:pt>
                <c:pt idx="95">
                  <c:v>205.21200303743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3.49719377291126</c:v>
                </c:pt>
                <c:pt idx="43">
                  <c:v>168.98392044584008</c:v>
                </c:pt>
                <c:pt idx="44">
                  <c:v>174.59960013147449</c:v>
                </c:pt>
                <c:pt idx="45">
                  <c:v>180.13111101993408</c:v>
                </c:pt>
                <c:pt idx="46">
                  <c:v>185.37140327673086</c:v>
                </c:pt>
                <c:pt idx="47">
                  <c:v>190.44162454748641</c:v>
                </c:pt>
                <c:pt idx="48">
                  <c:v>195.56720190149113</c:v>
                </c:pt>
                <c:pt idx="49">
                  <c:v>200.82126422958297</c:v>
                </c:pt>
                <c:pt idx="50">
                  <c:v>206.16688895790924</c:v>
                </c:pt>
                <c:pt idx="51">
                  <c:v>211.83157331015286</c:v>
                </c:pt>
                <c:pt idx="52">
                  <c:v>217.53538987923491</c:v>
                </c:pt>
                <c:pt idx="53">
                  <c:v>222.76450864942302</c:v>
                </c:pt>
                <c:pt idx="54">
                  <c:v>227.80231040871516</c:v>
                </c:pt>
                <c:pt idx="55">
                  <c:v>232.8728302445902</c:v>
                </c:pt>
                <c:pt idx="56">
                  <c:v>238.03320949221768</c:v>
                </c:pt>
                <c:pt idx="57">
                  <c:v>243.30501656816779</c:v>
                </c:pt>
                <c:pt idx="58">
                  <c:v>248.6347068334689</c:v>
                </c:pt>
                <c:pt idx="59">
                  <c:v>253.97977383157482</c:v>
                </c:pt>
                <c:pt idx="60">
                  <c:v>259.20340775605797</c:v>
                </c:pt>
                <c:pt idx="61">
                  <c:v>264.29286137754667</c:v>
                </c:pt>
                <c:pt idx="62">
                  <c:v>269.27749087864186</c:v>
                </c:pt>
                <c:pt idx="63">
                  <c:v>274.15817719784366</c:v>
                </c:pt>
                <c:pt idx="64">
                  <c:v>278.89598019125731</c:v>
                </c:pt>
                <c:pt idx="65">
                  <c:v>283.51605406912569</c:v>
                </c:pt>
                <c:pt idx="66">
                  <c:v>287.97587594224302</c:v>
                </c:pt>
                <c:pt idx="67">
                  <c:v>292.27656637859775</c:v>
                </c:pt>
                <c:pt idx="68">
                  <c:v>296.34002077002037</c:v>
                </c:pt>
                <c:pt idx="69">
                  <c:v>300.18894568451645</c:v>
                </c:pt>
                <c:pt idx="70">
                  <c:v>303.82351421682353</c:v>
                </c:pt>
                <c:pt idx="71">
                  <c:v>307.14811188696928</c:v>
                </c:pt>
                <c:pt idx="72">
                  <c:v>310.20784755418731</c:v>
                </c:pt>
                <c:pt idx="73">
                  <c:v>313.00415705613977</c:v>
                </c:pt>
                <c:pt idx="74">
                  <c:v>315.49729666555049</c:v>
                </c:pt>
                <c:pt idx="75">
                  <c:v>317.68210581624487</c:v>
                </c:pt>
                <c:pt idx="76">
                  <c:v>319.56069145813655</c:v>
                </c:pt>
                <c:pt idx="77">
                  <c:v>321.13234347279524</c:v>
                </c:pt>
                <c:pt idx="78">
                  <c:v>322.33779518287793</c:v>
                </c:pt>
                <c:pt idx="79">
                  <c:v>323.2142927173611</c:v>
                </c:pt>
                <c:pt idx="80">
                  <c:v>323.76488912813659</c:v>
                </c:pt>
                <c:pt idx="81">
                  <c:v>323.96405712654405</c:v>
                </c:pt>
                <c:pt idx="82">
                  <c:v>323.79890605814745</c:v>
                </c:pt>
                <c:pt idx="83">
                  <c:v>323.31983977982804</c:v>
                </c:pt>
                <c:pt idx="84">
                  <c:v>322.50436374581852</c:v>
                </c:pt>
                <c:pt idx="85">
                  <c:v>321.30935788766874</c:v>
                </c:pt>
                <c:pt idx="86">
                  <c:v>319.81999178443425</c:v>
                </c:pt>
                <c:pt idx="87">
                  <c:v>318.02125295585449</c:v>
                </c:pt>
                <c:pt idx="88">
                  <c:v>315.84775028419602</c:v>
                </c:pt>
                <c:pt idx="89">
                  <c:v>313.39449444097812</c:v>
                </c:pt>
                <c:pt idx="90">
                  <c:v>310.66646993948552</c:v>
                </c:pt>
                <c:pt idx="91">
                  <c:v>307.64681470948187</c:v>
                </c:pt>
                <c:pt idx="92">
                  <c:v>304.28995174477893</c:v>
                </c:pt>
                <c:pt idx="93">
                  <c:v>300.66462114313543</c:v>
                </c:pt>
                <c:pt idx="94">
                  <c:v>296.80359252175259</c:v>
                </c:pt>
                <c:pt idx="95">
                  <c:v>292.69683293038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3.85459727459067</c:v>
                </c:pt>
                <c:pt idx="43">
                  <c:v>169.82940818458133</c:v>
                </c:pt>
                <c:pt idx="44">
                  <c:v>176.07671349479583</c:v>
                </c:pt>
                <c:pt idx="45">
                  <c:v>182.39096595050376</c:v>
                </c:pt>
                <c:pt idx="46">
                  <c:v>188.574943969618</c:v>
                </c:pt>
                <c:pt idx="47">
                  <c:v>194.75364221643662</c:v>
                </c:pt>
                <c:pt idx="48">
                  <c:v>201.15853951714047</c:v>
                </c:pt>
                <c:pt idx="49">
                  <c:v>207.86311983768971</c:v>
                </c:pt>
                <c:pt idx="50">
                  <c:v>214.83389111202766</c:v>
                </c:pt>
                <c:pt idx="51">
                  <c:v>222.2976298405456</c:v>
                </c:pt>
                <c:pt idx="52">
                  <c:v>229.97596997978525</c:v>
                </c:pt>
                <c:pt idx="53">
                  <c:v>237.35252441383827</c:v>
                </c:pt>
                <c:pt idx="54">
                  <c:v>244.70866429439803</c:v>
                </c:pt>
                <c:pt idx="55">
                  <c:v>252.2640519535027</c:v>
                </c:pt>
                <c:pt idx="56">
                  <c:v>260.06708989534411</c:v>
                </c:pt>
                <c:pt idx="57">
                  <c:v>268.11928460088643</c:v>
                </c:pt>
                <c:pt idx="58">
                  <c:v>276.36142960377737</c:v>
                </c:pt>
                <c:pt idx="59">
                  <c:v>284.74125610806698</c:v>
                </c:pt>
                <c:pt idx="60">
                  <c:v>293.11499233376992</c:v>
                </c:pt>
                <c:pt idx="61">
                  <c:v>301.45493203583948</c:v>
                </c:pt>
                <c:pt idx="62">
                  <c:v>309.77859515718364</c:v>
                </c:pt>
                <c:pt idx="63">
                  <c:v>318.07154294248119</c:v>
                </c:pt>
                <c:pt idx="64">
                  <c:v>326.27768948655466</c:v>
                </c:pt>
                <c:pt idx="65">
                  <c:v>334.40508225896622</c:v>
                </c:pt>
                <c:pt idx="66">
                  <c:v>342.39629453402802</c:v>
                </c:pt>
                <c:pt idx="67">
                  <c:v>350.23509117551652</c:v>
                </c:pt>
                <c:pt idx="68">
                  <c:v>357.82678524297478</c:v>
                </c:pt>
                <c:pt idx="69">
                  <c:v>365.17662408382876</c:v>
                </c:pt>
                <c:pt idx="70">
                  <c:v>372.2663509781039</c:v>
                </c:pt>
                <c:pt idx="71">
                  <c:v>378.98229626044895</c:v>
                </c:pt>
                <c:pt idx="72">
                  <c:v>385.35075170472419</c:v>
                </c:pt>
                <c:pt idx="73">
                  <c:v>391.35615659395773</c:v>
                </c:pt>
                <c:pt idx="74">
                  <c:v>396.94160425861776</c:v>
                </c:pt>
                <c:pt idx="75">
                  <c:v>402.08531537283636</c:v>
                </c:pt>
                <c:pt idx="76">
                  <c:v>406.77349686989209</c:v>
                </c:pt>
                <c:pt idx="77">
                  <c:v>410.99112805159746</c:v>
                </c:pt>
                <c:pt idx="78">
                  <c:v>414.66497228343258</c:v>
                </c:pt>
                <c:pt idx="79">
                  <c:v>417.81988901374683</c:v>
                </c:pt>
                <c:pt idx="80">
                  <c:v>420.44764677496767</c:v>
                </c:pt>
                <c:pt idx="81">
                  <c:v>422.51278964003041</c:v>
                </c:pt>
                <c:pt idx="82">
                  <c:v>423.99369556925564</c:v>
                </c:pt>
                <c:pt idx="83">
                  <c:v>424.93395017273178</c:v>
                </c:pt>
                <c:pt idx="84">
                  <c:v>425.30564524327895</c:v>
                </c:pt>
                <c:pt idx="85">
                  <c:v>425.06183576162658</c:v>
                </c:pt>
                <c:pt idx="86">
                  <c:v>424.28546397853637</c:v>
                </c:pt>
                <c:pt idx="87">
                  <c:v>422.96086137466818</c:v>
                </c:pt>
                <c:pt idx="88">
                  <c:v>421.02327568593734</c:v>
                </c:pt>
                <c:pt idx="89">
                  <c:v>418.57026324071035</c:v>
                </c:pt>
                <c:pt idx="90">
                  <c:v>415.61039606507069</c:v>
                </c:pt>
                <c:pt idx="91">
                  <c:v>412.13193327160667</c:v>
                </c:pt>
                <c:pt idx="92">
                  <c:v>408.09238256888796</c:v>
                </c:pt>
                <c:pt idx="93">
                  <c:v>403.57030103426035</c:v>
                </c:pt>
                <c:pt idx="94">
                  <c:v>398.60707044658557</c:v>
                </c:pt>
                <c:pt idx="95">
                  <c:v>393.20225396121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5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chart" Target="../charts/chart9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chart" Target="../charts/chart1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chart" Target="../charts/chart1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chart" Target="../charts/chart1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8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chart" Target="../charts/chart1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28.xml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chart" Target="../charts/chart14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chart" Target="../charts/chart1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8.xml"/><Relationship Id="rId10" Type="http://schemas.openxmlformats.org/officeDocument/2006/relationships/tags" Target="../tags/tag153.xml"/><Relationship Id="rId4" Type="http://schemas.openxmlformats.org/officeDocument/2006/relationships/tags" Target="../tags/tag147.xml"/><Relationship Id="rId9" Type="http://schemas.openxmlformats.org/officeDocument/2006/relationships/tags" Target="../tags/tag1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chart" Target="../charts/chart1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chart" Target="../charts/chart17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chart" Target="../charts/chart18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chart" Target="../charts/chart19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chart" Target="../charts/chart2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chart" Target="../charts/chart2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8.xml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chart" Target="../charts/chart2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8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chart" Target="../charts/chart23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8.xml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chart" Target="../charts/chart24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8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chart" Target="../charts/chart2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chart" Target="../charts/chart2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8.xml"/><Relationship Id="rId10" Type="http://schemas.openxmlformats.org/officeDocument/2006/relationships/tags" Target="../tags/tag263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chart" Target="../charts/chart27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8.xml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chart" Target="../charts/char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chart" Target="../charts/chart28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8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chart" Target="../charts/chart29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8.xml"/><Relationship Id="rId10" Type="http://schemas.openxmlformats.org/officeDocument/2006/relationships/tags" Target="../tags/tag293.xml"/><Relationship Id="rId4" Type="http://schemas.openxmlformats.org/officeDocument/2006/relationships/tags" Target="../tags/tag287.xml"/><Relationship Id="rId9" Type="http://schemas.openxmlformats.org/officeDocument/2006/relationships/tags" Target="../tags/tag29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chart" Target="../charts/chart30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8.xml"/><Relationship Id="rId10" Type="http://schemas.openxmlformats.org/officeDocument/2006/relationships/tags" Target="../tags/tag303.xml"/><Relationship Id="rId4" Type="http://schemas.openxmlformats.org/officeDocument/2006/relationships/tags" Target="../tags/tag297.xml"/><Relationship Id="rId9" Type="http://schemas.openxmlformats.org/officeDocument/2006/relationships/tags" Target="../tags/tag30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chart" Target="../charts/char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chart" Target="../charts/chart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chart" Target="../charts/chart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chart" Target="../charts/chart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chart" Target="../charts/chart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chart" Target="../charts/chart8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1602182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543427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10DE4A6-8CE8-40B6-B46F-4883717236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017736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0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2228ACF-7CD9-4578-9AAF-5E73DF44EE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FFC5E186-40D7-4AA0-AA0C-26ED7B58239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62607EA-E46F-4650-8FC2-0D41968E267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1C54862C-4084-4028-9A7A-8AD2A9E13A2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584F854E-CE34-49E4-A286-EF13774AA7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2053D4FC-4652-413F-9E18-69D044DA81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875C23A-3825-4BA0-93C6-D8F5C50D299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FFF8E41D-257F-46B7-A033-007DD5DD6D6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37AE98E-E8C8-4446-AED9-9208A15A549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19875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866818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F2BA569-2078-42D4-89F0-8C0EBD6AE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69993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A3C2A8F-003F-4F1F-BD5F-5F846582335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11033E9F-7F63-45B9-8151-706EAC8F2B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ED680C4-A1DC-4716-A883-AEEE63F7D17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0C575BE-1055-4DDC-991F-DD92FEEEF60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C4F141E6-6ADD-477A-8595-D2E3551EE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725CA9D7-8A86-4A1E-9CFE-3FB527ABEB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6D31FF1E-5709-4321-AC97-AD85F0E5E3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58E2203-9546-4058-880F-7713E3B708E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543B59-D7F4-47F0-84A3-817A14C39F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18057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798313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E0F4C45C-8421-4D7D-B3AF-33B815C8D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21875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5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EAEB9AAD-B223-4069-89EF-26AEA0A466C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21D2A9F7-A670-470B-9F6A-6D239E1A4C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EA2EAAB-BD26-46AB-91A5-9FB2009F49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DC28F7F-06EF-4133-BF51-254219C3734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D04F1CC1-1A1F-471B-BC91-851971E3EF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AF0EAE8-B444-4387-8F6D-13604C65E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AD651157-6645-4E07-BC22-2D39270709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11EFAED3-7042-4E3C-8BD4-39F29DB68F5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7F22CB-31B3-4781-9E5E-D69C1906EAA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761766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442125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F7BB150-B0B9-4367-B018-33C6F85C3C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50632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5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6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76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655144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870160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2FE60C7-ABAE-4A82-B057-FFC80DC247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5999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F4E34F5-1FC7-41D7-B163-BF7CB16DEA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BA41014-4710-4B2C-8B9B-CE364DC7B27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12BE6D-E3DD-405B-9125-E1983C498CE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1EB1CB-A6E0-4C2E-BBEB-5A886BFA0B8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2D0892E9-1C7E-4122-878D-E892305774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070B2B3-A181-438C-A074-A7E1C56862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F65BB0FD-DC36-40C2-9909-8698039BF22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AF40BEF-ABBC-43DC-BC96-5261948D8D8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965F16B-0BC3-40DA-A435-40E4BDD5FB6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900393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752761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64DBA5E-D36B-44CA-A124-9653A22CF3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827369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2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B7B89F5-9E5C-413C-9088-60A2FF9C34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8FD8B7A-0889-4877-BD58-B4D3CA59F4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BA2465C-A495-4FC7-B4C0-C511920ECF1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BE8454-A881-4D19-9959-77D01E71517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6D59F5C8-1C76-4C26-9C99-3540CCF7D5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671701B3-412E-420E-8E3B-17D1B521D3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9A8241B5-7F27-4753-A708-86E13ECE39C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D5EE1853-4C5A-46F4-B2A6-4E6EBC07913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C1A3239-2E02-4A69-815F-1254C67BA15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115154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054338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198B51C-5EE4-4A76-8313-1CFBB39E44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63562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7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5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7E497D40-406B-4BD3-AB37-B485391D486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5E5A8814-F3D4-4B99-AB8A-B90780FF789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757A9DD-3159-4CAE-B2D9-10B9C7EE8C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A2698650-1F2D-45F6-B266-61A1B3AB100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BCD3C83-1A0E-404D-A2F3-39817A754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C85F3700-D166-4C74-8687-D47DBC586F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C2C08FB3-291B-4047-8071-47F4BA2C1B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203ADC85-F4C8-4289-B371-0686E3BEB21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626E81C-A814-4C7F-9864-B2F470B95AD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294937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3535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191236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48091EBD-070E-4D59-BE0C-94423E3760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a rozsah pravděpodobnostních predikcí 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773D9BE-2780-4D7B-BD5F-FB1A43B7D84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FD9D97AA-7D55-45FF-945E-17DD0E05567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B2F10687-2A0C-4C58-B4C5-2F508D5E25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82E8D21E-CBB2-4AD3-A43B-110304C8FE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AC2FA29B-586A-49A9-B0A3-28D8C04743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957D0AB-AF67-4B21-AD1D-2417706D9C8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F6B4381-96B5-43D3-8999-3BDBF1C6603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5081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833927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C59C06-1871-4288-BD74-1C148E975EB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C1AE5A-2243-447C-B083-78752FD0652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508FC161-0C95-493E-A87F-3EE86B6213A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5AC7B1-2172-4E56-ADB6-7BBD8DD1D4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E4D59DC9-EE68-46BD-8E23-ECE839D15E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0710E6FD-92C6-4778-9BCA-38D55467D0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54F88105-4F79-4979-BE53-2CF2DF79569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4BB185D0-B5FC-484B-9144-700136EB136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56778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302035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8AFD64B7-1F28-448B-BECF-6BBA93F0C4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079603"/>
              </p:ext>
            </p:extLst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8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 8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4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6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86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770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287892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95087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2A5CD62-86F4-471D-A895-A796B9FE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CA1CC31-E24B-4215-85E4-4DAA3224F65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8656B506-B33B-4DD5-A179-721934EC03F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FF021AB-47C5-402B-BD29-840F1A7E93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D41162A8-6BB0-4C0B-9B2E-CD9E29C39E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70E9D0C-2A3C-458E-8A3B-A31C5CF4270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A5F2E2C8-00DB-4D69-ACB4-7D6C3B985C1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871F3440-C59D-492D-AB6F-551E143A997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738192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689459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28421681-8241-414C-8F89-B24E6247249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946C16D-256E-4E13-9B73-CA24C25B26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27EBDD3-9B79-4EC7-885D-39B51B777A2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2C83399B-EE36-4F1A-A195-FD578ABFCA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2862C1BF-205B-4C5F-AA0A-7EBC2427A3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3470EB4-47CC-490F-A824-D976669B634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B56622D4-EC36-4FAA-805E-1FE298037D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137CC735-8457-4FA6-92C9-F5D101380FA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73348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537304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F2E78CB-61BB-4523-85D6-8858302B5D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D94FF35-BE35-4540-8DA8-3F80E6CD9C6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8CE6259-E181-4457-B71C-2E18D41D88F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BB068139-94A5-4E0B-A6C4-ABE77EE196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8570501D-CA2D-4AE1-9FA3-9E145C2C7F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F6D50A99-381E-4088-B141-86E56D2CDA5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690C2713-828C-4F5C-98AF-AD79CB00E4E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A998856-A943-4560-A949-753B1DB508D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105741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135891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940E6400-6AEF-4D83-BC50-3A2561FD220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467B89E-6B26-4F23-ACAB-EF416B9304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32D124AD-A7AE-480E-B69E-2A5FC0CBBA4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B8E0EE7-5BC9-43EE-A4B3-B36ED89D92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0A239023-9B46-4CB3-8002-F187CA0AA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E9310435-5409-407C-8A48-68855A519AE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07D414A0-11CD-4C7D-B5C0-17E49A1A4C3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278C342-1404-4EE5-829E-BC3B87509FB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757147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170986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6B81427-F450-4E81-890D-5D59C966E7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4DE5BB8-E21A-47E9-AA2C-4D9ACB03A31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E8DA1B0-1172-42D0-852C-B50C2786587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B2BBCF-592E-47A4-A43C-15E7143266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C6979F3D-87D0-4C0D-BF80-5769AEE8BD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D64684E3-3BD2-40CD-AACE-17746058A89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D782F64C-184F-4CD5-B4BB-E582F60122DC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2D799674-75D9-4A55-AE0C-38D86CC54CB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652621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747349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A525C2B-9A0C-426D-8745-4B19313C63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716F446-7902-4E90-B2E7-1A99CB85C2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F06ABB72-9E29-4F9F-BDD5-04B8A26BA8D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C07825B-1224-435D-B053-1E0A59B6EA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38BD0BE-C861-40F6-9C8C-9F1E980A5E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541A6B6D-24EC-435D-BCCB-4F7495AC301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E00ECF6-BBB7-47C8-B909-DB722F36667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17E29B-A217-4645-A987-02CD8915151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503832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316633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35E7A7-6D8E-4BFA-AE48-11C21B2331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734495F-4C36-492F-A2F6-4CE429DB403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68211A21-4321-439A-B3A8-4867C11F2E9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CB41AAA-4B64-4FCE-8FE1-648FC1BE46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4C9AEF2A-6538-4F7B-A77A-45255AB859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72E2A46B-8EF8-454B-AC19-8193B88D23A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00AD393-16DA-404F-8046-54A2C8510CA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52ADFC-3AA0-471F-BA88-485921B6841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007573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663059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F89CB5-AE5E-4F3B-BFD7-11FCBF3CEF1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AEB91EC-B4E7-424C-91B1-78E3D2D73B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7A9ACF2E-929A-40E2-8384-1FE2162AB59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C33D9CCA-1861-4A93-9F80-4BC855E0B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FD342C0-1A41-41FF-AF0C-B495679DA0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E32CDFB0-3CDF-447A-9FC9-F3B5FAA1AEA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3AA3C7B-E15C-4020-A149-71F316E0E1A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B7D4ECE-91C4-4007-A5AD-D3B5058A7C3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410620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067843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E832CD2-059B-4081-BBA3-62514CF3FC8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C160D7B-F9C5-494C-8DF5-038DEBF9249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B8BF1F2-2390-458A-9D0E-AC84B649F5A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F7A0CCFA-5B93-42AB-8AD7-E74263D961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CD69E0A-EBBC-49E7-802C-F617D4FDDA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4AF75B12-CDD8-4D11-80C1-E9AC885F8D6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7E66710A-1F78-4717-9C8D-0E3865C706C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D6D2776-3F36-4093-8B02-86FBDC00D26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72358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855615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1408BF7-7A1F-4C24-B955-BCB8981BAB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1451D9A-B939-436C-BCA9-C852B47A25C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4B91AAE2-5A07-4069-87A8-8EDFD673A47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5D79C0F-BAC9-4C49-8522-410FD8225D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AEE719E-3FDD-49DA-B7AB-D17C32E4F8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26B2DA18-4934-4292-9CEF-90D6876DAB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B7920B66-AEF0-4FB3-BE3F-1AC4B6877E6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DDBDA-AD98-4105-A4EE-DCA4BA409ED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033757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312388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6DCA57D4-84AC-4F0E-84BE-74EAE19F86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028364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0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EAC5D20-9494-4541-A51D-5B2450E08BD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97FA661B-5C85-4745-89A5-14D68C9B1EF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0B17412-4358-4D84-887D-7A6B93316F0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A1C7A3D-A650-48AB-89EB-2B2F81152B4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DCDD40D8-E641-4D43-91CE-9BECE2668C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6F48C32-5D67-4F60-9EB7-A6AB13CCD7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951599E4-6B30-4B13-9E64-0CA4ACDAC2A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3643A85B-54B9-4147-A57F-DE591B66F76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D2EBC2A-B041-479C-9D12-61A4E878F7C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526535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659688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B62F5418-6002-4245-9351-64A23E10A3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506D279-5905-46CD-ADD6-58FE6AE5A6F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A4760D2-0E25-4D9F-B8FF-3BE754CD14E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897D943-0B24-4C4F-969B-B270CE7950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8DD233D9-0E1F-4755-8392-71A72F1C12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644EA36B-E22C-4B09-AEA5-71D1E45D9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52CB620-2163-499E-A51F-3386B5F607F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407EEC8-98B2-4F00-AD93-F23D0BD4EA7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545770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663217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ECDDF8F2-CFCC-4552-8C4F-149630363C0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C5F1D6C-BF85-49E1-9153-CD56F92CB8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016E210-C9D0-456F-ABF3-9D4CB265898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891F0002-8C38-4405-860D-514B8DB399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6345DD1-C91A-4E05-80EE-7BF4936923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BE10DC78-4908-4E64-82C3-C34F96E8F2E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97926EE1-C613-4318-B32A-3D0E7E174B8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CBC7F35-18CF-44C1-8733-B55FC7966B2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945511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77835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E9C9E7A-FA87-4DBB-A436-1FDDE558C1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11C8B60-A7A3-43FF-914E-36F391DBA47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651CCAE-BA1A-41C1-BC58-13224AB9428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5EE8D4F5-94C1-485D-8F45-7A6EB4095C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431AB2A-9E94-49DA-8A6D-ACF7A0BFE3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06691F0B-3347-472D-889C-BB3AB248881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667BF979-107A-49A0-B6E9-61B2D05249A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A37DC45-2F59-40F7-BCE6-5F40E3E4C0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79933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376613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9010B62-DD1D-41B6-8E94-9AC8DA784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26991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4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8CDCADB-A3F2-4269-9E77-CE5D8F99CB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75540-49BD-4BAC-B490-D5F2336830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5D307EC-04D1-4464-9577-1C38D6FDD7D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257D171-288A-491E-93E1-08D0B99F489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79019A41-9457-41A3-9A6E-897BA3BB9F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BD21BEBC-D965-4BEE-BEC8-4CED2020CB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14191C9F-37C6-417C-94C8-A4E8033287F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0174CF30-3463-4E4C-B188-959D7161E1D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BF1D6AE8-DE48-457C-94F7-209360705B6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81450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693184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6B6A48F-F569-4F8F-8F0B-70EB3E62CD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37578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9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86F985E0-9341-4882-96BA-997FA5EBB83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C01A9362-0875-4914-B511-7C0E1D0090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3E1DD09-901B-4470-95C8-D57B7C4C2C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F3A1DC4E-B4E8-4D19-BF6E-C7C9BF7650C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B32787C0-AAE0-4405-805D-F4DC6DA5BC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F47B13CD-FB7A-4D60-B259-365074A0C9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57B094C-ED07-4C62-A216-09553ED98C6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8704BF5-3E5D-4D8C-92EE-B0A6B499D44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F25F0CE2-6EAB-45F3-980A-280E6292169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27978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09608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AD9CA1D1-2D73-45FA-A06D-817FB9F87A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85565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2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83D12C4-FAD3-404F-A2B8-9202BEA0038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8A1B916A-B40C-4F89-81A5-1D057A43EB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D4C4F29-C9D4-4DF3-AB8C-E5A16B5A71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5990A630-CC2D-4907-94EC-42F1446B087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8CE5C0DA-AD05-4269-8A44-C839745F87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67B8871-CEA4-4F0C-8C60-300B0A1A8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384BB410-1FC3-4197-B705-C6232E9793D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32317E6E-DEF9-4543-B417-0C7265B8390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F91D205-3885-4125-B3F4-0CF30BE369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93096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648791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E576ECD-398B-4DD7-AAF2-6A59DA7AB0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18396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9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4096EA9-FEB9-4B09-B5E9-ADFCA020F27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E5B2474D-0786-452F-943D-B70CE5B769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4DF09A3-2639-4FF7-9E2C-352D52CF5CC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86148BD-2331-4EEC-B60F-B2FA72BF01F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988345C0-07DB-4D1D-822B-1FCD6FF053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EF54E024-0AB8-4D0C-9FEB-6DDB083AC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E53A28D-200A-4687-AB3E-863B6B5A1FB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782A281D-9A6E-4AF3-89C9-9C87FD7BA47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851992F-38A0-476A-93BC-416D6181CBB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031149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549789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E2D796D1-34FC-4023-BE56-CFE9351318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32967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4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1614B88-1FFD-4EC9-84ED-B9E3DAC385C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0EC5F5D3-CFF9-424F-86BE-D713710C5DE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65E3659-44AC-4647-A0E0-4309BE98787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E302235-0A5D-4D07-90BB-D5EE473A355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FEBE29CF-D7A9-482F-A7B7-6E9A66338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06E29D7-AD33-4354-9508-706B895EBA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E4655915-2765-4C39-9B6C-C032BD1AD70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49C44AC5-0D73-42BC-A3AB-02F644D207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025FB39-BD6A-45F2-99E3-DC4076DAF37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803689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656761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17F2219-E01D-4F46-991F-3C51FA7EB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0233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4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5E8882E-0CA9-46D0-887E-AB1C0BDB9B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FFBFC-B934-4D45-B1F1-2C4E9DCDD3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D71190F-D14D-4E84-84FF-2A94E57023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C33525C-BE55-439A-A080-1A78C134B34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A0C27147-5ED1-40BE-8CD8-73207A2131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DDE1929E-E264-4A06-88EA-0B9677FB9C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D4E585C-EF92-4C9E-A39C-49138884A36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650C12E-3DEF-45D9-87FA-8868CC705F4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593553-636E-4632-8D48-BF483ECF2C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32115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5</TotalTime>
  <Words>3424</Words>
  <Application>Microsoft Office PowerPoint</Application>
  <PresentationFormat>Širokoúhlá obrazovka</PresentationFormat>
  <Paragraphs>844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Klechová Anna Mgr.</cp:lastModifiedBy>
  <cp:revision>458</cp:revision>
  <dcterms:created xsi:type="dcterms:W3CDTF">2021-03-07T17:05:03Z</dcterms:created>
  <dcterms:modified xsi:type="dcterms:W3CDTF">2021-12-15T19:23:31Z</dcterms:modified>
</cp:coreProperties>
</file>